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811" r:id="rId5"/>
    <p:sldMasterId id="2147483823" r:id="rId6"/>
    <p:sldMasterId id="2147483835" r:id="rId7"/>
    <p:sldMasterId id="2147483847" r:id="rId8"/>
    <p:sldMasterId id="2147483860" r:id="rId9"/>
    <p:sldMasterId id="2147483873" r:id="rId10"/>
    <p:sldMasterId id="2147483886" r:id="rId11"/>
    <p:sldMasterId id="2147484084" r:id="rId12"/>
  </p:sldMasterIdLst>
  <p:notesMasterIdLst>
    <p:notesMasterId r:id="rId20"/>
  </p:notesMasterIdLst>
  <p:handoutMasterIdLst>
    <p:handoutMasterId r:id="rId21"/>
  </p:handoutMasterIdLst>
  <p:sldIdLst>
    <p:sldId id="2145706588" r:id="rId13"/>
    <p:sldId id="2145706611" r:id="rId14"/>
    <p:sldId id="2145706628" r:id="rId15"/>
    <p:sldId id="2145706610" r:id="rId16"/>
    <p:sldId id="2145706656" r:id="rId17"/>
    <p:sldId id="2145706657" r:id="rId18"/>
    <p:sldId id="2145706487" r:id="rId19"/>
  </p:sldIdLst>
  <p:sldSz cx="12192000" cy="6858000"/>
  <p:notesSz cx="6858000" cy="9144000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Calibri Light" panose="020F0302020204030204" pitchFamily="34" charset="0"/>
      <p:regular r:id="rId26"/>
      <p:italic r:id="rId27"/>
    </p:embeddedFont>
    <p:embeddedFont>
      <p:font typeface="Montserrat"/>
      <p:regular r:id="rId28"/>
      <p:bold r:id="rId29"/>
      <p:italic r:id="rId30"/>
      <p:boldItalic r:id="rId31"/>
    </p:embeddedFont>
    <p:embeddedFont>
      <p:font typeface="Montserrat SemiBold"/>
      <p:bold r:id="rId32"/>
      <p:boldItalic r:id="rId33"/>
    </p:embeddedFont>
    <p:embeddedFont>
      <p:font typeface="Poppins Black"/>
      <p:bold r:id="rId34"/>
      <p:boldItalic r:id="rId35"/>
    </p:embeddedFont>
    <p:embeddedFont>
      <p:font typeface="Poppins ExtraBold" panose="00000900000000000000"/>
      <p:bold r:id="rId36"/>
      <p:boldItalic r:id="rId37"/>
    </p:embeddedFont>
    <p:embeddedFont>
      <p:font typeface="Poppins ExtraLight"/>
      <p:regular r:id="rId38"/>
      <p:italic r:id="rId39"/>
    </p:embeddedFont>
    <p:embeddedFont>
      <p:font typeface="Poppins SemiBold" panose="00000700000000000000"/>
      <p:bold r:id="rId40"/>
      <p:boldItalic r:id="rId41"/>
    </p:embeddedFont>
    <p:embeddedFont>
      <p:font typeface="Roboto Light"/>
      <p:regular r:id="rId42"/>
      <p:italic r:id="rId43"/>
    </p:embeddedFont>
    <p:embeddedFont>
      <p:font typeface="Verdana" panose="020B0604030504040204" pitchFamily="34" charset="0"/>
      <p:regular r:id="rId44"/>
      <p:bold r:id="rId45"/>
      <p:italic r:id="rId46"/>
      <p:boldItalic r:id="rId47"/>
    </p:embeddedFont>
    <p:embeddedFont>
      <p:font typeface="Wingdings 2" panose="05020102010507070707" pitchFamily="18" charset="2"/>
      <p:regular r:id="rId48"/>
    </p:embeddedFont>
  </p:embeddedFontLst>
  <p:custDataLst>
    <p:tags r:id="rId49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9C9C71E9-FCDC-46B8-AB1D-2663999325D4}">
          <p14:sldIdLst>
            <p14:sldId id="2145706588"/>
          </p14:sldIdLst>
        </p14:section>
        <p14:section name="Nimetön osa" id="{65E8435A-E397-442A-9738-75FE5969806E}">
          <p14:sldIdLst>
            <p14:sldId id="2145706611"/>
            <p14:sldId id="2145706628"/>
            <p14:sldId id="2145706610"/>
            <p14:sldId id="2145706656"/>
            <p14:sldId id="2145706657"/>
            <p14:sldId id="214570648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kka-Hietala, Minni" initials="SHM" lastIdx="1" clrIdx="0">
    <p:extLst>
      <p:ext uri="{19B8F6BF-5375-455C-9EA6-DF929625EA0E}">
        <p15:presenceInfo xmlns:p15="http://schemas.microsoft.com/office/powerpoint/2012/main" userId="S::minni.sarkka-hietala@deloitte.fi::a87db7ec-a367-4b3c-8be5-d4ecb5482af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0EC"/>
    <a:srgbClr val="EBE1EA"/>
    <a:srgbClr val="FF0066"/>
    <a:srgbClr val="FF33CC"/>
    <a:srgbClr val="CCFFCC"/>
    <a:srgbClr val="00CCFF"/>
    <a:srgbClr val="669900"/>
    <a:srgbClr val="CCCCFF"/>
    <a:srgbClr val="CCFFFF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302" autoAdjust="0"/>
  </p:normalViewPr>
  <p:slideViewPr>
    <p:cSldViewPr snapToGrid="0">
      <p:cViewPr varScale="1">
        <p:scale>
          <a:sx n="68" d="100"/>
          <a:sy n="68" d="100"/>
        </p:scale>
        <p:origin x="72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font" Target="fonts/font21.fntdata"/><Relationship Id="rId47" Type="http://schemas.openxmlformats.org/officeDocument/2006/relationships/font" Target="fonts/font26.fntdata"/><Relationship Id="rId50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Relationship Id="rId46" Type="http://schemas.openxmlformats.org/officeDocument/2006/relationships/font" Target="fonts/font25.fntdata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41" Type="http://schemas.openxmlformats.org/officeDocument/2006/relationships/font" Target="fonts/font20.fntdata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font" Target="fonts/font19.fntdata"/><Relationship Id="rId45" Type="http://schemas.openxmlformats.org/officeDocument/2006/relationships/font" Target="fonts/font24.fntdata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49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font" Target="fonts/font10.fntdata"/><Relationship Id="rId44" Type="http://schemas.openxmlformats.org/officeDocument/2006/relationships/font" Target="fonts/font23.fntdata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font" Target="fonts/font22.fntdata"/><Relationship Id="rId48" Type="http://schemas.openxmlformats.org/officeDocument/2006/relationships/font" Target="fonts/font27.fntdata"/><Relationship Id="rId8" Type="http://schemas.openxmlformats.org/officeDocument/2006/relationships/slideMaster" Target="slideMasters/slideMaster5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err="1">
                <a:latin typeface="Poppins ExtraBold" panose="00000900000000000000" pitchFamily="2" charset="0"/>
                <a:cs typeface="Poppins ExtraBold" panose="00000900000000000000" pitchFamily="2" charset="0"/>
              </a:rPr>
              <a:t>Otsikko</a:t>
            </a:r>
            <a:endParaRPr lang="en-US">
              <a:latin typeface="Poppins ExtraBold" panose="00000900000000000000" pitchFamily="2" charset="0"/>
              <a:cs typeface="Poppins ExtraBold" panose="00000900000000000000" pitchFamily="2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B7-4791-A73E-4A68E1AE518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B7-4791-A73E-4A68E1AE518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B7-4791-A73E-4A68E1AE518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B7-4791-A73E-4A68E1AE518C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oppins ExtraBold" panose="00000900000000000000" pitchFamily="2" charset="0"/>
              <a:ea typeface="+mn-ea"/>
              <a:cs typeface="Poppins ExtraBold" panose="00000900000000000000" pitchFamily="2" charset="0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11-4B94-9622-BFE5B72FC45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11-4B94-9622-BFE5B72FC45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11-4B94-9622-BFE5B72FC45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11-4B94-9622-BFE5B72FC45B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3923376"/>
        <c:axId val="473925344"/>
      </c:barChart>
      <c:catAx>
        <c:axId val="473923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fi-FI"/>
          </a:p>
        </c:txPr>
        <c:crossAx val="473925344"/>
        <c:crosses val="autoZero"/>
        <c:auto val="1"/>
        <c:lblAlgn val="ctr"/>
        <c:lblOffset val="100"/>
        <c:noMultiLvlLbl val="0"/>
      </c:catAx>
      <c:valAx>
        <c:axId val="473925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73923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err="1">
                <a:latin typeface="Poppins ExtraBold" panose="00000900000000000000" pitchFamily="2" charset="0"/>
                <a:cs typeface="Poppins ExtraBold" panose="00000900000000000000" pitchFamily="2" charset="0"/>
              </a:rPr>
              <a:t>Otsikko</a:t>
            </a:r>
            <a:endParaRPr lang="en-US">
              <a:latin typeface="Poppins ExtraBold" panose="00000900000000000000" pitchFamily="2" charset="0"/>
              <a:cs typeface="Poppins ExtraBold" panose="00000900000000000000" pitchFamily="2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B7-4791-A73E-4A68E1AE518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B7-4791-A73E-4A68E1AE518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B7-4791-A73E-4A68E1AE518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B7-4791-A73E-4A68E1AE518C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oppins ExtraBold" panose="00000900000000000000" pitchFamily="2" charset="0"/>
              <a:ea typeface="+mn-ea"/>
              <a:cs typeface="Poppins ExtraBold" panose="00000900000000000000" pitchFamily="2" charset="0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11-4B94-9622-BFE5B72FC45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11-4B94-9622-BFE5B72FC45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11-4B94-9622-BFE5B72FC45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11-4B94-9622-BFE5B72FC45B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3923376"/>
        <c:axId val="473925344"/>
      </c:barChart>
      <c:catAx>
        <c:axId val="473923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fi-FI"/>
          </a:p>
        </c:txPr>
        <c:crossAx val="473925344"/>
        <c:crosses val="autoZero"/>
        <c:auto val="1"/>
        <c:lblAlgn val="ctr"/>
        <c:lblOffset val="100"/>
        <c:noMultiLvlLbl val="0"/>
      </c:catAx>
      <c:valAx>
        <c:axId val="473925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73923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09A1D90-2062-4389-87F9-585146E556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601021-3A79-4440-B80F-9C75F8D83DC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09853A-5794-4DA2-A4AB-D0B3309F55E3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DF46FD-EC29-4A71-8B66-F048A9CE3BA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8070E1-5855-4CA1-AA81-014DBD8F1EB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6BC9D7-328C-4D91-947D-35E3F9B8E5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9128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596AC-646C-44FC-954B-4161BE572F04}" type="datetimeFigureOut">
              <a:rPr lang="fi-FI" smtClean="0"/>
              <a:t>8.3.2022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D728D0-16EF-4BE3-B2E3-7BACDBE8671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14948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D728D0-16EF-4BE3-B2E3-7BACDBE86715}" type="slidenum">
              <a:rPr lang="fi-FI" smtClean="0"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48349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D728D0-16EF-4BE3-B2E3-7BACDBE86715}" type="slidenum">
              <a:rPr lang="fi-FI" smtClean="0"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8837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D728D0-16EF-4BE3-B2E3-7BACDBE86715}" type="slidenum">
              <a:rPr lang="fi-FI" smtClean="0"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99447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AA00-08CB-4D42-BC42-5FD10B8E1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384EC-70B5-43F0-85DE-6328B14E6C0F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B36D59-2219-4745-8866-3C10FB77A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5469C93-8108-497E-AE09-69B91A1AB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FA9397-4EC2-428C-8028-EC8F9418B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7042E8DA-BDAD-400E-B10D-5DDB2028D5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5960C26-0006-4CDB-BFA6-EED7F960FBB8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633F30-81AA-4E31-B02C-5D35D29203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4022C-4631-4B82-ABDB-2F2B7E388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8067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14FCAC9C-93C3-4BF3-AA69-FB92EE27B6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353A0D-6841-4B42-BD5B-AC1A73F1AE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20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7E8D1426-897D-4DFC-843A-4DB9244C8424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52938" y="2033191"/>
            <a:ext cx="5332663" cy="2757312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956682"/>
      </p:ext>
    </p:extLst>
  </p:cSld>
  <p:clrMapOvr>
    <a:masterClrMapping/>
  </p:clrMapOvr>
  <p:transition spd="slow">
    <p:push dir="u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562001" y="751022"/>
            <a:ext cx="5157259" cy="440304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E246AFC9-5C3D-485C-ACA3-25EF505B42F5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744069"/>
      </p:ext>
    </p:extLst>
  </p:cSld>
  <p:clrMapOvr>
    <a:masterClrMapping/>
  </p:clrMapOvr>
  <p:transition spd="slow">
    <p:push dir="u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öreä 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-2288005" y="-481189"/>
            <a:ext cx="7668127" cy="7666943"/>
          </a:xfrm>
          <a:custGeom>
            <a:avLst/>
            <a:gdLst>
              <a:gd name="connsiteX0" fmla="*/ 5751095 w 11502190"/>
              <a:gd name="connsiteY0" fmla="*/ 0 h 11502190"/>
              <a:gd name="connsiteX1" fmla="*/ 11502190 w 11502190"/>
              <a:gd name="connsiteY1" fmla="*/ 5751095 h 11502190"/>
              <a:gd name="connsiteX2" fmla="*/ 5751095 w 11502190"/>
              <a:gd name="connsiteY2" fmla="*/ 11502190 h 11502190"/>
              <a:gd name="connsiteX3" fmla="*/ 0 w 11502190"/>
              <a:gd name="connsiteY3" fmla="*/ 5751095 h 11502190"/>
              <a:gd name="connsiteX4" fmla="*/ 5751095 w 11502190"/>
              <a:gd name="connsiteY4" fmla="*/ 0 h 11502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2190" h="11502190">
                <a:moveTo>
                  <a:pt x="5751095" y="0"/>
                </a:moveTo>
                <a:cubicBezTo>
                  <a:pt x="8927337" y="0"/>
                  <a:pt x="11502190" y="2574853"/>
                  <a:pt x="11502190" y="5751095"/>
                </a:cubicBezTo>
                <a:cubicBezTo>
                  <a:pt x="11502190" y="8927337"/>
                  <a:pt x="8927337" y="11502190"/>
                  <a:pt x="5751095" y="11502190"/>
                </a:cubicBezTo>
                <a:cubicBezTo>
                  <a:pt x="2574853" y="11502190"/>
                  <a:pt x="0" y="8927337"/>
                  <a:pt x="0" y="5751095"/>
                </a:cubicBezTo>
                <a:cubicBezTo>
                  <a:pt x="0" y="2574853"/>
                  <a:pt x="2574853" y="0"/>
                  <a:pt x="5751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rgbClr val="005A9B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6016570" y="996964"/>
            <a:ext cx="5640693" cy="433888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5112356"/>
      </p:ext>
    </p:extLst>
  </p:cSld>
  <p:clrMapOvr>
    <a:masterClrMapping/>
  </p:clrMapOvr>
  <p:transition spd="slow">
    <p:push dir="u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75368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515184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255000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A90DB7F7-082A-419B-8715-36B6B5B3CDA8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5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7103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isält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069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343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825343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3D0F0290-5A58-4977-A227-C1622EDACA36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557522"/>
      </p:ext>
    </p:extLst>
  </p:cSld>
  <p:clrMapOvr>
    <a:masterClrMapping/>
  </p:clrMapOvr>
  <p:transition spd="slow">
    <p:push dir="u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52642" y="2182894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A9EFE29F-1A50-4B17-AE63-10671D4EAD2A}" type="datetime1">
              <a:rPr lang="fi-FI" smtClean="0"/>
              <a:t>8.3.2022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854166"/>
      </p:ext>
    </p:extLst>
  </p:cSld>
  <p:clrMapOvr>
    <a:masterClrMapping/>
  </p:clrMapOvr>
  <p:transition spd="slow">
    <p:push dir="u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F7F628A-854B-4C99-BA4C-8590327F1445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025277"/>
      </p:ext>
    </p:extLst>
  </p:cSld>
  <p:clrMapOvr>
    <a:masterClrMapping/>
  </p:clrMapOvr>
  <p:transition spd="slow">
    <p:push dir="u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8602" y="923115"/>
            <a:ext cx="10206009" cy="4444815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sz="1866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sz="1600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083BAEBC-D262-4027-928E-B83F748C798E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920533"/>
      </p:ext>
    </p:extLst>
  </p:cSld>
  <p:clrMapOvr>
    <a:masterClrMapping/>
  </p:clrMapOvr>
  <p:transition spd="slow">
    <p:push dir="u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a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06FD4D92-BC22-44CB-A8DF-150AE5B78145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119042"/>
      </p:ext>
    </p:extLst>
  </p:cSld>
  <p:clrMapOvr>
    <a:masterClrMapping/>
  </p:clrMapOvr>
  <p:transition spd="slow">
    <p:push dir="u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093844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81566161-9E2C-4A0C-B626-D0B4BE1F3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4DEC7E-5326-4131-9336-902152B25D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310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9FA1C-FF6E-4BA6-81A6-19CA30AF47F1}" type="datetime1">
              <a:rPr lang="fi-FI" smtClean="0"/>
              <a:t>8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488B5-D842-4874-B534-160E9258EB96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2417694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usta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B8CEEF30-0E85-4232-989B-08A3241BDD0F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2766057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66197"/>
      </p:ext>
    </p:extLst>
  </p:cSld>
  <p:clrMapOvr>
    <a:masterClrMapping/>
  </p:clrMapOvr>
  <p:transition spd="slow">
    <p:push dir="u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EC65DE82-FC9B-4C51-9FD6-B501887F636E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52938" y="2033191"/>
            <a:ext cx="5332663" cy="2757312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9224340"/>
      </p:ext>
    </p:extLst>
  </p:cSld>
  <p:clrMapOvr>
    <a:masterClrMapping/>
  </p:clrMapOvr>
  <p:transition spd="slow">
    <p:push dir="u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562001" y="751022"/>
            <a:ext cx="5157259" cy="440304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10ABC6D5-F00D-49A0-ABEC-5C47629A1601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796668"/>
      </p:ext>
    </p:extLst>
  </p:cSld>
  <p:clrMapOvr>
    <a:masterClrMapping/>
  </p:clrMapOvr>
  <p:transition spd="slow">
    <p:push dir="u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öreä 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-2288005" y="-481189"/>
            <a:ext cx="7668127" cy="7666943"/>
          </a:xfrm>
          <a:custGeom>
            <a:avLst/>
            <a:gdLst>
              <a:gd name="connsiteX0" fmla="*/ 5751095 w 11502190"/>
              <a:gd name="connsiteY0" fmla="*/ 0 h 11502190"/>
              <a:gd name="connsiteX1" fmla="*/ 11502190 w 11502190"/>
              <a:gd name="connsiteY1" fmla="*/ 5751095 h 11502190"/>
              <a:gd name="connsiteX2" fmla="*/ 5751095 w 11502190"/>
              <a:gd name="connsiteY2" fmla="*/ 11502190 h 11502190"/>
              <a:gd name="connsiteX3" fmla="*/ 0 w 11502190"/>
              <a:gd name="connsiteY3" fmla="*/ 5751095 h 11502190"/>
              <a:gd name="connsiteX4" fmla="*/ 5751095 w 11502190"/>
              <a:gd name="connsiteY4" fmla="*/ 0 h 11502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2190" h="11502190">
                <a:moveTo>
                  <a:pt x="5751095" y="0"/>
                </a:moveTo>
                <a:cubicBezTo>
                  <a:pt x="8927337" y="0"/>
                  <a:pt x="11502190" y="2574853"/>
                  <a:pt x="11502190" y="5751095"/>
                </a:cubicBezTo>
                <a:cubicBezTo>
                  <a:pt x="11502190" y="8927337"/>
                  <a:pt x="8927337" y="11502190"/>
                  <a:pt x="5751095" y="11502190"/>
                </a:cubicBezTo>
                <a:cubicBezTo>
                  <a:pt x="2574853" y="11502190"/>
                  <a:pt x="0" y="8927337"/>
                  <a:pt x="0" y="5751095"/>
                </a:cubicBezTo>
                <a:cubicBezTo>
                  <a:pt x="0" y="2574853"/>
                  <a:pt x="2574853" y="0"/>
                  <a:pt x="5751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rgbClr val="005A9B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6016570" y="996964"/>
            <a:ext cx="5640693" cy="433888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8448702"/>
      </p:ext>
    </p:extLst>
  </p:cSld>
  <p:clrMapOvr>
    <a:masterClrMapping/>
  </p:clrMapOvr>
  <p:transition spd="slow">
    <p:push dir="u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75368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515184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255000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53E03EEA-D61F-4513-B31F-F9DD9525B54D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5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36960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isält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069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343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825343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821C97A5-239D-4041-93AA-05E4CF5257DC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408894"/>
      </p:ext>
    </p:extLst>
  </p:cSld>
  <p:clrMapOvr>
    <a:masterClrMapping/>
  </p:clrMapOvr>
  <p:transition spd="slow">
    <p:push dir="u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52642" y="2182894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A1EAD781-CB61-4AD3-9DE9-8AE9B6A12261}" type="datetime1">
              <a:rPr lang="fi-FI" smtClean="0"/>
              <a:t>8.3.2022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81717"/>
      </p:ext>
    </p:extLst>
  </p:cSld>
  <p:clrMapOvr>
    <a:masterClrMapping/>
  </p:clrMapOvr>
  <p:transition spd="slow">
    <p:push dir="u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50D2098E-69C5-4C80-B8B8-B0C7C4224553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635504"/>
      </p:ext>
    </p:extLst>
  </p:cSld>
  <p:clrMapOvr>
    <a:masterClrMapping/>
  </p:clrMapOvr>
  <p:transition spd="slow">
    <p:push dir="u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8602" y="923115"/>
            <a:ext cx="10206009" cy="4444815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sz="1866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sz="1600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C96DEE90-EA34-41BA-9D91-BD2A2802EC03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093733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2E69FE4-0D14-42F3-8ED8-B83ACA2DCA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B987F8-229E-46EB-8188-78F976D74A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554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a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004AAA91-F803-446B-9D8D-62FF6B4ECA9A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478537"/>
      </p:ext>
    </p:extLst>
  </p:cSld>
  <p:clrMapOvr>
    <a:masterClrMapping/>
  </p:clrMapOvr>
  <p:transition spd="slow">
    <p:push dir="u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2256293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3D3AE-B843-4884-9297-006A8F55FB91}" type="datetime1">
              <a:rPr lang="fi-FI" smtClean="0"/>
              <a:t>8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488B5-D842-4874-B534-160E9258EB96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8871204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usta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37F45260-84B9-4252-84B9-BF6BDD90FB2C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2766057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5265794"/>
      </p:ext>
    </p:extLst>
  </p:cSld>
  <p:clrMapOvr>
    <a:masterClrMapping/>
  </p:clrMapOvr>
  <p:transition spd="slow">
    <p:push dir="u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8E94C0DB-CFBA-4B35-A1F2-6BFF0122DFA7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52938" y="2033191"/>
            <a:ext cx="5332663" cy="2757312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9241031"/>
      </p:ext>
    </p:extLst>
  </p:cSld>
  <p:clrMapOvr>
    <a:masterClrMapping/>
  </p:clrMapOvr>
  <p:transition spd="slow">
    <p:push dir="u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562001" y="751022"/>
            <a:ext cx="5157259" cy="440304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2FCCC254-6CBB-49B1-AB26-93E4E512A711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598476"/>
      </p:ext>
    </p:extLst>
  </p:cSld>
  <p:clrMapOvr>
    <a:masterClrMapping/>
  </p:clrMapOvr>
  <p:transition spd="slow">
    <p:push dir="u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öreä 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-2288005" y="-481189"/>
            <a:ext cx="7668127" cy="7666943"/>
          </a:xfrm>
          <a:custGeom>
            <a:avLst/>
            <a:gdLst>
              <a:gd name="connsiteX0" fmla="*/ 5751095 w 11502190"/>
              <a:gd name="connsiteY0" fmla="*/ 0 h 11502190"/>
              <a:gd name="connsiteX1" fmla="*/ 11502190 w 11502190"/>
              <a:gd name="connsiteY1" fmla="*/ 5751095 h 11502190"/>
              <a:gd name="connsiteX2" fmla="*/ 5751095 w 11502190"/>
              <a:gd name="connsiteY2" fmla="*/ 11502190 h 11502190"/>
              <a:gd name="connsiteX3" fmla="*/ 0 w 11502190"/>
              <a:gd name="connsiteY3" fmla="*/ 5751095 h 11502190"/>
              <a:gd name="connsiteX4" fmla="*/ 5751095 w 11502190"/>
              <a:gd name="connsiteY4" fmla="*/ 0 h 11502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2190" h="11502190">
                <a:moveTo>
                  <a:pt x="5751095" y="0"/>
                </a:moveTo>
                <a:cubicBezTo>
                  <a:pt x="8927337" y="0"/>
                  <a:pt x="11502190" y="2574853"/>
                  <a:pt x="11502190" y="5751095"/>
                </a:cubicBezTo>
                <a:cubicBezTo>
                  <a:pt x="11502190" y="8927337"/>
                  <a:pt x="8927337" y="11502190"/>
                  <a:pt x="5751095" y="11502190"/>
                </a:cubicBezTo>
                <a:cubicBezTo>
                  <a:pt x="2574853" y="11502190"/>
                  <a:pt x="0" y="8927337"/>
                  <a:pt x="0" y="5751095"/>
                </a:cubicBezTo>
                <a:cubicBezTo>
                  <a:pt x="0" y="2574853"/>
                  <a:pt x="2574853" y="0"/>
                  <a:pt x="5751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rgbClr val="005A9B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6016570" y="996964"/>
            <a:ext cx="5640693" cy="433888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3666330"/>
      </p:ext>
    </p:extLst>
  </p:cSld>
  <p:clrMapOvr>
    <a:masterClrMapping/>
  </p:clrMapOvr>
  <p:transition spd="slow">
    <p:push dir="u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75368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515184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255000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A6F8483D-6A6B-45AB-A38E-A6E23279E19B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5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7755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isält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069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343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825343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D92C21E5-3572-4F3D-9BD4-9419C438956C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670490"/>
      </p:ext>
    </p:extLst>
  </p:cSld>
  <p:clrMapOvr>
    <a:masterClrMapping/>
  </p:clrMapOvr>
  <p:transition spd="slow">
    <p:push dir="u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52642" y="2182894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AF65B2A3-128D-4307-A316-973A6644F9B1}" type="datetime1">
              <a:rPr lang="fi-FI" smtClean="0"/>
              <a:t>8.3.2022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741661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339BBCE-72EB-4416-82B5-95E4D23ADF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1C5F59-1A73-4A2D-ACD6-B8171302A2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32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F58F9A3C-CDF6-4CCF-9926-242A9A6E7CFC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896249"/>
      </p:ext>
    </p:extLst>
  </p:cSld>
  <p:clrMapOvr>
    <a:masterClrMapping/>
  </p:clrMapOvr>
  <p:transition spd="slow">
    <p:push dir="u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8602" y="923115"/>
            <a:ext cx="10206009" cy="4444815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sz="1866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sz="1600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23D7A37-F333-451A-A75A-A059D6603F40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354191"/>
      </p:ext>
    </p:extLst>
  </p:cSld>
  <p:clrMapOvr>
    <a:masterClrMapping/>
  </p:clrMapOvr>
  <p:transition spd="slow">
    <p:push dir="u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a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D1FF5C83-7642-4DB2-8BE8-0311DEA58589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361511"/>
      </p:ext>
    </p:extLst>
  </p:cSld>
  <p:clrMapOvr>
    <a:masterClrMapping/>
  </p:clrMapOvr>
  <p:transition spd="slow">
    <p:push dir="u"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39307919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FDA4A2-DCAB-4E8E-849B-92D21794DBAC}" type="datetime1">
              <a:rPr lang="fi-FI" smtClean="0"/>
              <a:t>8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488B5-D842-4874-B534-160E9258EB96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9368376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AA00-08CB-4D42-BC42-5FD10B8E1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7D34-AD3B-438C-92B0-9699857F3D78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B36D59-2219-4745-8866-3C10FB77A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5469C93-8108-497E-AE09-69B91A1AB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FA9397-4EC2-428C-8028-EC8F9418B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7042E8DA-BDAD-400E-B10D-5DDB2028D5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5960C26-0006-4CDB-BFA6-EED7F960FBB8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633F30-81AA-4E31-B02C-5D35D29203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4022C-4631-4B82-ABDB-2F2B7E388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5197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3DB6CCF-4A6C-4CF2-81A9-169BDCA233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54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6613919-E40D-4E1C-91AE-4EC0629995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15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240283-3B0C-4D0D-BE44-5667AE81A5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85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46688D-317B-46E6-8381-0BFD0E9AE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86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D8FE91E8-160A-4795-8140-A27E90907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35B6EE-4BD2-4FA8-B567-08DB7C3DC8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912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562931-1CE2-4D82-AD64-F416F6FD37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454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74BE6B3-307D-41F0-B2A8-C4BA8B7F39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26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03B558-6B57-4598-B3E8-8733F4936D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A294842E-CE57-4D76-A40E-B0D99D26E1A6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928AD-5ED4-4BF6-839E-DB314089D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890241-FB3C-4BAC-8DB3-B8C212506C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0014D83-E6A2-42CD-93B8-2757E8E6A3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6" name="Picture 1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AB84055-9B6F-4667-A415-4141BF2F68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471F456E-EC89-42DF-8E0F-AF14097D32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994" y="1686720"/>
            <a:ext cx="3649916" cy="347472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B27861D-71CD-4784-A6DE-E6BC1DB56222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244C952-ACC9-4870-B87B-DE9F734AC3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11250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5D0F3E8B-B9D6-401B-89DB-DECA733FA2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D2C8CA8-8603-41A4-9DD3-10B8144817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46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Aloitusruutu_tumma_fuksia_kuvio">
    <p:bg>
      <p:bgPr>
        <a:gradFill>
          <a:gsLst>
            <a:gs pos="0">
              <a:schemeClr val="accent6">
                <a:lumMod val="75000"/>
              </a:schemeClr>
            </a:gs>
            <a:gs pos="68000">
              <a:srgbClr val="DE0079"/>
            </a:gs>
            <a:gs pos="36000">
              <a:srgbClr val="E6007E"/>
            </a:gs>
            <a:gs pos="100000">
              <a:schemeClr val="accent6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</a:schemeClr>
              </a:gs>
              <a:gs pos="63000">
                <a:srgbClr val="DE0079"/>
              </a:gs>
              <a:gs pos="44000">
                <a:srgbClr val="E6007E"/>
              </a:gs>
              <a:gs pos="100000">
                <a:schemeClr val="accent5">
                  <a:lumMod val="7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2C8CA8-8603-41A4-9DD3-10B814481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9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14FCAC9C-93C3-4BF3-AA69-FB92EE27B6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353A0D-6841-4B42-BD5B-AC1A73F1AE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50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81566161-9E2C-4A0C-B626-D0B4BE1F3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4DEC7E-5326-4131-9336-902152B25D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63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2E69FE4-0D14-42F3-8ED8-B83ACA2DCA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B987F8-229E-46EB-8188-78F976D74A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72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339BBCE-72EB-4416-82B5-95E4D23ADF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1C5F59-1A73-4A2D-ACD6-B8171302A2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64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D8FE91E8-160A-4795-8140-A27E90907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35B6EE-4BD2-4FA8-B567-08DB7C3DC8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0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ranskalaiset_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24539" y="6257749"/>
            <a:ext cx="945718" cy="365125"/>
          </a:xfrm>
        </p:spPr>
        <p:txBody>
          <a:bodyPr/>
          <a:lstStyle/>
          <a:p>
            <a:fld id="{6FF84AC5-682C-4ADD-8FBE-74398EA7A13F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539525-7551-48F7-8D8F-A020ECBC3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B766A24-A8D9-4DFA-BA8B-3E0D6E55A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6221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ranskalaiset_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24539" y="6257749"/>
            <a:ext cx="945718" cy="365125"/>
          </a:xfrm>
        </p:spPr>
        <p:txBody>
          <a:bodyPr/>
          <a:lstStyle/>
          <a:p>
            <a:fld id="{45D64B0B-4278-43B0-AF27-05F386C10817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539525-7551-48F7-8D8F-A020ECBC3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B766A24-A8D9-4DFA-BA8B-3E0D6E55A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1607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_ranskalaiset_viivat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5B1E6AE-7991-4811-B577-296CC00A00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9F2CD-E67A-48D8-85FB-E255AB0F4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8436C9D6-3632-4FA2-9429-AFE0997E2526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143DAC5-3469-4AA9-93A1-540B07AA9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377B993-D7C1-4A56-8EFB-3F16258CA5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8F563A7-F7AD-4616-9D1D-1AE82E267D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80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C75A9-52D8-4ED0-96C2-C69FE48EEDDD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A8EAF9-11C2-4317-B287-93C13C547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F52C2CD-20CF-4F2D-8C05-1ADF71215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BE2601-7626-456C-A31B-5113E25B1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1590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_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D2F3555-CD9C-4A92-8B27-541D98696F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9BE8E40-DB24-4417-9B9F-DD455E75B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2909738-C33F-4A34-AAC5-D8CC68D572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D361B35F-DECC-405A-82A1-D429BC581D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BC13E34C-B036-4245-917E-99D28939B3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A3BDAD07-4051-4654-8511-B9160FA11D65}" type="datetime1">
              <a:rPr lang="fi-FI" smtClean="0"/>
              <a:t>8.3.2022</a:t>
            </a:fld>
            <a:endParaRPr lang="fi-FI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950A81C-68BB-4D18-9483-4D08863A3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1CC7B966-876A-403D-8087-11DB5C27E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DF9320C-73B2-4D2C-8217-5358A9F1F2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917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ranskalaiset-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49A1E5-B65B-4FF5-B618-DE8F9C07D137}" type="datetime1">
              <a:rPr lang="fi-FI" smtClean="0"/>
              <a:t>8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6BCEC4-81A3-42F5-B62D-4067B34C561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9AF520A-DFB6-46AA-A90E-73856CB6FBB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DAE261-03D8-472D-B14F-C1DF423A7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4552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25A6D2-023E-4E61-8197-E0359C813BF8}" type="datetime1">
              <a:rPr lang="fi-FI" smtClean="0"/>
              <a:t>8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A0A1FC-CD35-4C4A-8830-0BF62F3966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265E24-119F-4E75-B1BC-37B74F31F78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2242108-567E-4E86-8B9F-64DA7D572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7898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BFC5D1-A434-41C0-A0AC-FA8C98998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74AC1-841E-41C8-AF63-3D9485E4DA12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A87B9-8B1F-4CE1-B8BD-8B9631551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78340-C080-47C5-983F-3EEBF0D75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074EB3E-6D1F-4DA0-B8DD-662308A06C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1F1CEFC-91A9-4473-A413-6D4A96A9F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9741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aliotsikko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5B7F77-A7E2-4A93-AF37-79AB665217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B7582F-B7A6-4B6B-AF59-21885C1D6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19DD4A-F530-4694-A831-4C3DFA62E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3F4A4EE-00AB-4282-8B80-FFBD6A597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D9044F-FCBB-4029-9E23-FDB769B471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29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CDCB01C-A9CF-445C-9A1A-5DF3BC0618D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D7BD377-A4BF-474C-8BF1-1CBA4AFD4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7CFCA1B-A982-4A80-B70C-437B77980F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AD7213B-62A6-4498-8992-D0679296D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39C038-5957-40E0-B1CF-CFF1D573AE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38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F15C473-637B-4F74-89B6-7827FF4848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837C24-9D16-44F1-9A88-B5B4D6429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9BF18D-EBB2-47F4-A616-B0540DA6F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050A66B-6ABF-42AA-92F8-DD58BCB477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798B9D-FEAE-4ECD-B0F4-4094482A86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42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_ranskalaiset_viivat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5B1E6AE-7991-4811-B577-296CC00A00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9F2CD-E67A-48D8-85FB-E255AB0F4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27ED5BE2-B7AF-403E-818A-AC988F839444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143DAC5-3469-4AA9-93A1-540B07AA9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377B993-D7C1-4A56-8EFB-3F16258CA5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8F563A7-F7AD-4616-9D1D-1AE82E267D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41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0DAA0E-1818-42FF-BB6C-93FD419E17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33585F5-0AE9-47A4-B6C9-1F5AA8AF3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078013-D062-4B74-BDD1-A7B1B92076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4AA073B5-0C86-430C-876B-7CC72F534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000DCB-7161-46F8-98A1-B14A12FA31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81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019E351-BD38-4277-ACBC-BAB6F0B4ED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AEBCB3B-E258-4D1D-BC07-970AA3335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31E5CBF-528D-4C27-BD3D-52A728543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B4ABDF5-105C-4805-AE9A-307C01A7B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3588A0-7B6A-460B-9E61-0B1E3C34B5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38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31C4A3-3B70-473F-87DC-97F62378B2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C2ADAF-8754-4CBB-B2D1-1331D17D2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57B995B-39BF-44D4-988C-8C346A16C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B8B122C-4305-4D0B-A2FA-D71C3E41A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4AF265-CBF7-48D7-9C80-7B57889C64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43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3CA46-5CAF-40BC-BA6C-D8820079DFA1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56CC2-9C69-4506-ADB6-C3431FE02F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2288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276B6-7A9D-4997-A825-B15B04E54B51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F2D2C7BF-71D4-48BF-9DD2-FE65AF4A26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90" y="812800"/>
            <a:ext cx="5496219" cy="523240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E94213E-8A70-4CDD-9D43-D0A90C3E1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7233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irakka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237A58-ACE8-422D-89C8-C151B2E37004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317966050"/>
              </p:ext>
            </p:extLst>
          </p:nvPr>
        </p:nvGraphicFramePr>
        <p:xfrm>
          <a:off x="850900" y="1314449"/>
          <a:ext cx="6329829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EF112B-7659-4965-8D51-4E3F618E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8CB20B9-BF14-48B7-8FBF-55A893F50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9103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kit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B385E-FF45-4B77-B11A-CD204BA4F5FD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524090704"/>
              </p:ext>
            </p:extLst>
          </p:nvPr>
        </p:nvGraphicFramePr>
        <p:xfrm>
          <a:off x="850900" y="1314449"/>
          <a:ext cx="6311900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089EDF-B6EA-42D8-ABC5-DC3F5127A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B898320-2141-47A4-9BD0-C34010A7F7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5760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2E092F-4C18-4469-8E83-6A834109ED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FAAFFF-5F2B-4165-A1EB-978BD4A56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B32EA3-DA3E-406D-8BC9-DB57E97263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6B60650-2462-4885-BDFA-965FD8BF2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420B20-D0B9-412C-A986-EE4A299C27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35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00340-25EF-4F66-8FC0-3524FCC23A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5AC8F70-F194-41C7-805B-D92734070F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FE8445C-4D7C-459B-A750-14E5D4ADDF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D5E3786-1E77-41FF-ACC3-2C07F23E9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512402-4326-4965-85DC-B1C3CB99F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567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53C6DA-FD50-4615-B8FB-FF833B6B87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D8D3088-BD2C-4F0D-AC59-B1D90F282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29D64E-D9FD-4A72-A218-5A46A2A9E0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E2367D72-1261-4F4B-95BA-C217F9F6FE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B66ACCA-7C79-452D-AC6D-E7CE0118EB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160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052BFA-D1B1-4F10-9C2D-643307B963F0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A8EAF9-11C2-4317-B287-93C13C547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F52C2CD-20CF-4F2D-8C05-1ADF71215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BE2601-7626-456C-A31B-5113E25B1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8654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5FDCB13-2229-4EDE-9601-A214D628E3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0A3972D-8B49-48B9-A933-077AD84C2B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144724E-5CC4-417F-B397-D5FCDD2793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E4A42AB-E5D2-487E-A666-3E81D0EC4C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95806FA-A7F8-4680-B00C-DC11DE1C9C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96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6DD7C14-1622-4EAE-AD65-6E914DFD8C1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808EF1-5D0E-43DC-80F8-12870B32C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0962C8-DE63-43D8-8942-0B0108C26B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D6D991B-5BB1-4C8D-8A99-46E6234F7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E06A6A-500D-4A81-A3A7-C636B9A8F4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6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AD99560-B70C-4CB4-8E0D-135C4B4F0D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F4CE26A-6975-4088-8C1C-2779DB919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4292A37-662E-4DBC-A495-79057914C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AF58029-5C3F-4E73-9857-1AC430FAE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72B7A3-2663-4A44-A26A-8324E29C4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30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812B7F-03F8-47AC-A428-BF026456F9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948B9A5-346C-4658-B145-33839B1205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84AE66-04F3-4FC4-827B-3D825FC2FB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0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63B5C1A-13B1-4DF6-9D59-D74F0DD9A7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E6C6386-945C-47E0-A075-7592821D61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B7FA65-2EFB-4FAE-93DF-18B27B9B5D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09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A28C2B3-EED9-4BDF-AC6A-C2BFC1453D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E4D2E0D-6F0C-4473-9A14-F0C36B7C2D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8D27C9-8603-41B8-86B2-143B00789D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84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D3C9BD-E553-4532-8F1B-692757DFF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5C3D7A0-CEE8-4810-AC66-8EEF47827F7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0A7BB2D-8403-4821-A23A-A7F9980B16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2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164F4-88DD-4DB6-A969-CF67CBF919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BD1C4AC-F731-4E7C-B6EF-52E5B96F5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B6F2C5-68ED-495F-AA1D-095F742BE8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00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ACB5D14-0A9E-4CB4-A060-CF81F97CF1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C7CBFF0-AFA3-42D3-93F0-41E668754A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8D0B143-9B6A-4DE3-8C57-E3A879D06B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43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alto_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3383C-D902-4359-B134-36B4C4F73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81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B999F5-4813-427F-A4E4-5335441DB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3932237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00F1A4-B81E-45E1-9606-07525FFE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212E5-9A56-4EEE-96ED-C97AE7E626F1}" type="datetime1">
              <a:rPr lang="fi-FI" smtClean="0"/>
              <a:t>8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40F95E-9FAF-473A-8740-38C0D6F7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EB64A9-0753-493D-931D-D429FE2A2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3932237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7897217-BD8C-4F57-9294-7DC932179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1333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_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D2F3555-CD9C-4A92-8B27-541D98696F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9BE8E40-DB24-4417-9B9F-DD455E75B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2909738-C33F-4A34-AAC5-D8CC68D572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D361B35F-DECC-405A-82A1-D429BC581D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BC13E34C-B036-4245-917E-99D28939B3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832E2344-CCBF-4647-A16A-C617232C0854}" type="datetime1">
              <a:rPr lang="fi-FI" smtClean="0"/>
              <a:t>8.3.2022</a:t>
            </a:fld>
            <a:endParaRPr lang="fi-FI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950A81C-68BB-4D18-9483-4D08863A3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1CC7B966-876A-403D-8087-11DB5C27E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DF9320C-73B2-4D2C-8217-5358A9F1F2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07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E54EFB4-12B2-4DFE-9F2E-3D2DD7CA7A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6869CB-89D0-4DA9-89A5-3150AD97AD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09055EB-5B06-42A3-A3F7-9558E538E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1" name="Picture 10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3E22456-AB22-4CB4-9C0E-E7E2302CA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01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54224DE-DE84-4CDB-804C-D62F8DBAD4A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6513FB-22B8-45CF-AEF7-A64E2EBADB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89C3558-BCB4-4A57-AFB2-95ED2FE281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68424A2-D2D4-4E4F-9B59-69E589A8D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FEABE71-E81F-4523-B5C3-B7A2E66D3C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C418F9D-13A3-4626-9E3D-49D09D588B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20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6E9C94-F91C-4351-80A3-EF626BB6D9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C731633-EDC4-4E10-A99C-BCF4E3D47F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4383859-0CAC-4E51-BE74-57E16ABFBC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A68DA7D-4465-4F6E-8E5C-4866B5E82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7076935-D697-414D-AD85-CDF94E890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3C36CB3-C464-4EE8-A100-EA1F3F701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4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D596EB-6C87-4E77-A282-E8F4AC510A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9554269-A758-425E-A7A9-3297720BD1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DA1327E-385A-450D-B8CB-02C8C36636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04CD8A6-3E7E-41DC-8B95-CADBC6BE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69AA01B-7F14-434E-9FCE-1A5429402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42D9FD-2B12-421C-90EC-2996F4D495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35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3197DA-176C-4FE5-917B-D17DC70B75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7A8F4DB-F8D7-4D33-9C7B-C531A05990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0538F70-F123-419A-9310-6629993937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0D085CB-FF03-477D-99B3-E2B4ACDB9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2B46A89-505B-4C00-9603-774EE16B94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C9463F-722D-4A14-A275-2C0DE27D3C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68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Deciduous tree">
            <a:extLst>
              <a:ext uri="{FF2B5EF4-FFF2-40B4-BE49-F238E27FC236}">
                <a16:creationId xmlns:a16="http://schemas.microsoft.com/office/drawing/2014/main" id="{A93C0E96-BAF3-4CE6-893E-BBBF4EBBF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85642" y="2665254"/>
            <a:ext cx="4720908" cy="47209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E12F5B-6168-40D0-A95F-7BDBB48756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CACB86E-ED50-48E8-88C1-FFE2056D2C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20CEAFD-8292-45D3-B6A0-B7E4450267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2DDBF5D-668F-4A0C-B7A0-CADB0FE88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F3EC7DD-D9F8-4C93-8A6B-1B071ABDC3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BA4C3A-646D-4F4B-9ECB-183D2126A0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8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C4A104B-18AA-4D32-99D1-997AD72450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75F519A0-39B0-4EC5-A2A2-3EA7712143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D42A1AF-7F9C-4CF2-BBFC-B82C6AD759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E104650-C3CA-4705-9048-D79637A33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A0A90A8-9FE0-4C37-82BD-085ACB37DF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40EE8DD-F6DC-42C1-837C-34C80E1160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470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Vaa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746F1-38DD-4FD1-8721-CA848852F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6F0F28-7AEF-4281-9330-AB1ACB5791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30CEB-310C-4C23-BD33-AD1ABF5D4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E0CAC-F315-437A-9BFB-68AAEB7FEF77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8DFE85-AC06-48FB-92D6-25F3F0EA7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C718087-0904-42CB-BF7F-BF506ABCAA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0696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aaka_ja_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0FA221-AA95-4298-AD12-8A88E18CD9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1033271"/>
            <a:ext cx="2628900" cy="514369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9273D4-E8DF-45BF-9698-4447602788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033271"/>
            <a:ext cx="7734300" cy="514369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20074-A776-4019-A129-04037FC89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16862-73F1-439D-8C19-8718EF178EBF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14635-FF9B-4224-842E-C960380FA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FF30BED-DFC0-40F3-8884-6966E14F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274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ranskalaiset-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04E3-1AC5-4649-859F-14F5ACF71339}" type="datetime1">
              <a:rPr lang="fi-FI" smtClean="0"/>
              <a:t>8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6BCEC4-81A3-42F5-B62D-4067B34C561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9AF520A-DFB6-46AA-A90E-73856CB6FBB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DAE261-03D8-472D-B14F-C1DF423A7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783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3DB6CCF-4A6C-4CF2-81A9-169BDCA233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134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2708A-3E2C-4D33-821B-B383FABDA4EB}" type="datetime1">
              <a:rPr lang="fi-FI" smtClean="0"/>
              <a:t>8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A0A1FC-CD35-4C4A-8830-0BF62F3966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265E24-119F-4E75-B1BC-37B74F31F78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2242108-567E-4E86-8B9F-64DA7D572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4111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BFC5D1-A434-41C0-A0AC-FA8C98998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D71F47-FFBA-4868-A0A3-84E21796F718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A87B9-8B1F-4CE1-B8BD-8B9631551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78340-C080-47C5-983F-3EEBF0D75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074EB3E-6D1F-4DA0-B8DD-662308A06C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1F1CEFC-91A9-4473-A413-6D4A96A9F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0362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aliotsikko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5B7F77-A7E2-4A93-AF37-79AB665217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B7582F-B7A6-4B6B-AF59-21885C1D6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19DD4A-F530-4694-A831-4C3DFA62E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3F4A4EE-00AB-4282-8B80-FFBD6A597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D9044F-FCBB-4029-9E23-FDB769B471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24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CDCB01C-A9CF-445C-9A1A-5DF3BC0618D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D7BD377-A4BF-474C-8BF1-1CBA4AFD4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7CFCA1B-A982-4A80-B70C-437B77980F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AD7213B-62A6-4498-8992-D0679296D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39C038-5957-40E0-B1CF-CFF1D573AE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89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F15C473-637B-4F74-89B6-7827FF4848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837C24-9D16-44F1-9A88-B5B4D6429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9BF18D-EBB2-47F4-A616-B0540DA6F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050A66B-6ABF-42AA-92F8-DD58BCB477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798B9D-FEAE-4ECD-B0F4-4094482A86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93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0DAA0E-1818-42FF-BB6C-93FD419E17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33585F5-0AE9-47A4-B6C9-1F5AA8AF3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078013-D062-4B74-BDD1-A7B1B92076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4AA073B5-0C86-430C-876B-7CC72F534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000DCB-7161-46F8-98A1-B14A12FA31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32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019E351-BD38-4277-ACBC-BAB6F0B4ED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AEBCB3B-E258-4D1D-BC07-970AA3335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31E5CBF-528D-4C27-BD3D-52A728543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B4ABDF5-105C-4805-AE9A-307C01A7B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3588A0-7B6A-460B-9E61-0B1E3C34B5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97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31C4A3-3B70-473F-87DC-97F62378B2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C2ADAF-8754-4CBB-B2D1-1331D17D2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57B995B-39BF-44D4-988C-8C346A16C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B8B122C-4305-4D0B-A2FA-D71C3E41A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4AF265-CBF7-48D7-9C80-7B57889C64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14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FF7A75-DF67-4ADC-9FB0-2E9A47A66C77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56CC2-9C69-4506-ADB6-C3431FE02F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4719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31DC9-7C48-4984-A0DB-5891A01AEE31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F2D2C7BF-71D4-48BF-9DD2-FE65AF4A26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90" y="812800"/>
            <a:ext cx="5496219" cy="523240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E94213E-8A70-4CDD-9D43-D0A90C3E1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3525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6613919-E40D-4E1C-91AE-4EC0629995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64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irakka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38F54-8EC3-4BAD-8B37-8AF506B9794F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57501312"/>
              </p:ext>
            </p:extLst>
          </p:nvPr>
        </p:nvGraphicFramePr>
        <p:xfrm>
          <a:off x="850900" y="1314449"/>
          <a:ext cx="6329829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EF112B-7659-4965-8D51-4E3F618E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8CB20B9-BF14-48B7-8FBF-55A893F50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9854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kit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D179E-10AB-4224-8F06-9AEBB6DAE164}" type="datetime1">
              <a:rPr lang="fi-FI" smtClean="0"/>
              <a:t>8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114869723"/>
              </p:ext>
            </p:extLst>
          </p:nvPr>
        </p:nvGraphicFramePr>
        <p:xfrm>
          <a:off x="850900" y="1314449"/>
          <a:ext cx="6311900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089EDF-B6EA-42D8-ABC5-DC3F5127A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B898320-2141-47A4-9BD0-C34010A7F7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599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2E092F-4C18-4469-8E83-6A834109ED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FAAFFF-5F2B-4165-A1EB-978BD4A56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B32EA3-DA3E-406D-8BC9-DB57E97263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6B60650-2462-4885-BDFA-965FD8BF2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420B20-D0B9-412C-A986-EE4A299C27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5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00340-25EF-4F66-8FC0-3524FCC23A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5AC8F70-F194-41C7-805B-D92734070F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FE8445C-4D7C-459B-A750-14E5D4ADDF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D5E3786-1E77-41FF-ACC3-2C07F23E9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512402-4326-4965-85DC-B1C3CB99F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15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53C6DA-FD50-4615-B8FB-FF833B6B87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D8D3088-BD2C-4F0D-AC59-B1D90F282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29D64E-D9FD-4A72-A218-5A46A2A9E0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E2367D72-1261-4F4B-95BA-C217F9F6FE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B66ACCA-7C79-452D-AC6D-E7CE0118EB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59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5FDCB13-2229-4EDE-9601-A214D628E3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0A3972D-8B49-48B9-A933-077AD84C2B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144724E-5CC4-417F-B397-D5FCDD2793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E4A42AB-E5D2-487E-A666-3E81D0EC4C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95806FA-A7F8-4680-B00C-DC11DE1C9C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6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6DD7C14-1622-4EAE-AD65-6E914DFD8C1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808EF1-5D0E-43DC-80F8-12870B32C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0962C8-DE63-43D8-8942-0B0108C26B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D6D991B-5BB1-4C8D-8A99-46E6234F7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E06A6A-500D-4A81-A3A7-C636B9A8F4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8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AD99560-B70C-4CB4-8E0D-135C4B4F0D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F4CE26A-6975-4088-8C1C-2779DB919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4292A37-662E-4DBC-A495-79057914C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AF58029-5C3F-4E73-9857-1AC430FAE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72B7A3-2663-4A44-A26A-8324E29C4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85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812B7F-03F8-47AC-A428-BF026456F9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948B9A5-346C-4658-B145-33839B1205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84AE66-04F3-4FC4-827B-3D825FC2FB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28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63B5C1A-13B1-4DF6-9D59-D74F0DD9A7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E6C6386-945C-47E0-A075-7592821D61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B7FA65-2EFB-4FAE-93DF-18B27B9B5D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8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240283-3B0C-4D0D-BE44-5667AE81A5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03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A28C2B3-EED9-4BDF-AC6A-C2BFC1453D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E4D2E0D-6F0C-4473-9A14-F0C36B7C2D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8D27C9-8603-41B8-86B2-143B00789D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01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D3C9BD-E553-4532-8F1B-692757DFF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5C3D7A0-CEE8-4810-AC66-8EEF47827F7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0A7BB2D-8403-4821-A23A-A7F9980B16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62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164F4-88DD-4DB6-A969-CF67CBF919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BD1C4AC-F731-4E7C-B6EF-52E5B96F5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B6F2C5-68ED-495F-AA1D-095F742BE8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06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ACB5D14-0A9E-4CB4-A060-CF81F97CF1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C7CBFF0-AFA3-42D3-93F0-41E668754A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8D0B143-9B6A-4DE3-8C57-E3A879D06B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alto_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3383C-D902-4359-B134-36B4C4F73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81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B999F5-4813-427F-A4E4-5335441DB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3932237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00F1A4-B81E-45E1-9606-07525FFE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F242D-0D1B-4DBD-B72B-537786893A77}" type="datetime1">
              <a:rPr lang="fi-FI" smtClean="0"/>
              <a:t>8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40F95E-9FAF-473A-8740-38C0D6F7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EB64A9-0753-493D-931D-D429FE2A2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3932237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7897217-BD8C-4F57-9294-7DC932179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750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E54EFB4-12B2-4DFE-9F2E-3D2DD7CA7A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6869CB-89D0-4DA9-89A5-3150AD97AD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09055EB-5B06-42A3-A3F7-9558E538E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1" name="Picture 10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3E22456-AB22-4CB4-9C0E-E7E2302CA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8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54224DE-DE84-4CDB-804C-D62F8DBAD4A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6513FB-22B8-45CF-AEF7-A64E2EBADB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89C3558-BCB4-4A57-AFB2-95ED2FE281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68424A2-D2D4-4E4F-9B59-69E589A8D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FEABE71-E81F-4523-B5C3-B7A2E66D3C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C418F9D-13A3-4626-9E3D-49D09D588B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19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6E9C94-F91C-4351-80A3-EF626BB6D9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C731633-EDC4-4E10-A99C-BCF4E3D47F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4383859-0CAC-4E51-BE74-57E16ABFBC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A68DA7D-4465-4F6E-8E5C-4866B5E82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7076935-D697-414D-AD85-CDF94E890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3C36CB3-C464-4EE8-A100-EA1F3F701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5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D596EB-6C87-4E77-A282-E8F4AC510A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9554269-A758-425E-A7A9-3297720BD1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DA1327E-385A-450D-B8CB-02C8C36636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04CD8A6-3E7E-41DC-8B95-CADBC6BE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69AA01B-7F14-434E-9FCE-1A5429402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42D9FD-2B12-421C-90EC-2996F4D495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11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3197DA-176C-4FE5-917B-D17DC70B75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7A8F4DB-F8D7-4D33-9C7B-C531A05990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0538F70-F123-419A-9310-6629993937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0D085CB-FF03-477D-99B3-E2B4ACDB9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2B46A89-505B-4C00-9603-774EE16B94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C9463F-722D-4A14-A275-2C0DE27D3C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4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46688D-317B-46E6-8381-0BFD0E9AE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25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Deciduous tree">
            <a:extLst>
              <a:ext uri="{FF2B5EF4-FFF2-40B4-BE49-F238E27FC236}">
                <a16:creationId xmlns:a16="http://schemas.microsoft.com/office/drawing/2014/main" id="{A93C0E96-BAF3-4CE6-893E-BBBF4EBBF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85642" y="2665254"/>
            <a:ext cx="4720908" cy="47209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E12F5B-6168-40D0-A95F-7BDBB48756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CACB86E-ED50-48E8-88C1-FFE2056D2C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20CEAFD-8292-45D3-B6A0-B7E4450267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2DDBF5D-668F-4A0C-B7A0-CADB0FE88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F3EC7DD-D9F8-4C93-8A6B-1B071ABDC3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BA4C3A-646D-4F4B-9ECB-183D2126A0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26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C4A104B-18AA-4D32-99D1-997AD72450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75F519A0-39B0-4EC5-A2A2-3EA7712143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D42A1AF-7F9C-4CF2-BBFC-B82C6AD759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E104650-C3CA-4705-9048-D79637A33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A0A90A8-9FE0-4C37-82BD-085ACB37DF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40EE8DD-F6DC-42C1-837C-34C80E1160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16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Vaa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746F1-38DD-4FD1-8721-CA848852F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6F0F28-7AEF-4281-9330-AB1ACB5791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30CEB-310C-4C23-BD33-AD1ABF5D4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6A86-748F-47CC-8B32-E4CAEC271095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8DFE85-AC06-48FB-92D6-25F3F0EA7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C718087-0904-42CB-BF7F-BF506ABCAA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22450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aaka_ja_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0FA221-AA95-4298-AD12-8A88E18CD9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1033271"/>
            <a:ext cx="2628900" cy="514369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9273D4-E8DF-45BF-9698-4447602788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033271"/>
            <a:ext cx="7734300" cy="514369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20074-A776-4019-A129-04037FC89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CDDC9-D886-4856-8058-B2CB225E48F6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14635-FF9B-4224-842E-C960380FA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FF30BED-DFC0-40F3-8884-6966E14F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3110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usta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306564A9-750F-4F97-8BA8-0B1868194ED1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2766058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9186684"/>
      </p:ext>
    </p:extLst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E0CF90C5-412A-4C84-A6C6-D9D1C4A969A9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52939" y="2033191"/>
            <a:ext cx="5332663" cy="2757312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219940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562002" y="751023"/>
            <a:ext cx="5157259" cy="440304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6F01423B-5556-4EFE-9952-1939357DBDDE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691477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öreä 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-2288004" y="-481188"/>
            <a:ext cx="7668127" cy="7666943"/>
          </a:xfrm>
          <a:custGeom>
            <a:avLst/>
            <a:gdLst>
              <a:gd name="connsiteX0" fmla="*/ 5751095 w 11502190"/>
              <a:gd name="connsiteY0" fmla="*/ 0 h 11502190"/>
              <a:gd name="connsiteX1" fmla="*/ 11502190 w 11502190"/>
              <a:gd name="connsiteY1" fmla="*/ 5751095 h 11502190"/>
              <a:gd name="connsiteX2" fmla="*/ 5751095 w 11502190"/>
              <a:gd name="connsiteY2" fmla="*/ 11502190 h 11502190"/>
              <a:gd name="connsiteX3" fmla="*/ 0 w 11502190"/>
              <a:gd name="connsiteY3" fmla="*/ 5751095 h 11502190"/>
              <a:gd name="connsiteX4" fmla="*/ 5751095 w 11502190"/>
              <a:gd name="connsiteY4" fmla="*/ 0 h 11502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2190" h="11502190">
                <a:moveTo>
                  <a:pt x="5751095" y="0"/>
                </a:moveTo>
                <a:cubicBezTo>
                  <a:pt x="8927337" y="0"/>
                  <a:pt x="11502190" y="2574853"/>
                  <a:pt x="11502190" y="5751095"/>
                </a:cubicBezTo>
                <a:cubicBezTo>
                  <a:pt x="11502190" y="8927337"/>
                  <a:pt x="8927337" y="11502190"/>
                  <a:pt x="5751095" y="11502190"/>
                </a:cubicBezTo>
                <a:cubicBezTo>
                  <a:pt x="2574853" y="11502190"/>
                  <a:pt x="0" y="8927337"/>
                  <a:pt x="0" y="5751095"/>
                </a:cubicBezTo>
                <a:cubicBezTo>
                  <a:pt x="0" y="2574853"/>
                  <a:pt x="2574853" y="0"/>
                  <a:pt x="5751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rgbClr val="005A9B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6016571" y="996965"/>
            <a:ext cx="5640693" cy="433888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4264735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75368" y="962380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515184" y="962380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255000" y="962380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FFF98CF7-CEB3-4B21-8AE9-F1B2EB9C2720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5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61255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isält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070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344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825344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8E43DE4F-08D0-4956-B2A5-1DE764BA2D6A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390084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562931-1CE2-4D82-AD64-F416F6FD37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08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52642" y="2182895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8860153D-A692-48C2-8427-F6796894578C}" type="datetime1">
              <a:rPr lang="fi-FI" smtClean="0"/>
              <a:t>8.3.2022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768930"/>
      </p:ext>
    </p:extLst>
  </p:cSld>
  <p:clrMapOvr>
    <a:masterClrMapping/>
  </p:clrMapOvr>
  <p:transition spd="slow">
    <p:push dir="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8EE7A455-6F2B-4ABA-A4E1-962D267C64D4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715070"/>
      </p:ext>
    </p:extLst>
  </p:cSld>
  <p:clrMapOvr>
    <a:masterClrMapping/>
  </p:clrMapOvr>
  <p:transition spd="slow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8603" y="923116"/>
            <a:ext cx="10206009" cy="4444815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sz="1866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sz="1600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3B87FE8E-4615-451A-A870-FCC61B6D4B11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770759"/>
      </p:ext>
    </p:extLst>
  </p:cSld>
  <p:clrMapOvr>
    <a:masterClrMapping/>
  </p:clrMapOvr>
  <p:transition spd="slow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a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156FBE95-B400-4481-9311-5F835DB9F7A3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163052"/>
      </p:ext>
    </p:extLst>
  </p:cSld>
  <p:clrMapOvr>
    <a:masterClrMapping/>
  </p:clrMapOvr>
  <p:transition spd="slow">
    <p:push dir="u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>
          <a:xfrm>
            <a:off x="0" y="0"/>
            <a:ext cx="5240421" cy="6858000"/>
          </a:xfrm>
          <a:prstGeom prst="rect">
            <a:avLst/>
          </a:prstGeom>
          <a:solidFill>
            <a:srgbClr val="005A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5785853" y="866141"/>
            <a:ext cx="5933407" cy="4929512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>
              <a:defRPr sz="1866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2pPr>
            <a:lvl3pPr>
              <a:defRPr sz="1600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3pPr>
            <a:lvl4pPr>
              <a:defRPr sz="1333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4pPr>
            <a:lvl5pPr>
              <a:defRPr sz="1333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01053" y="866141"/>
            <a:ext cx="4438316" cy="4587333"/>
          </a:xfrm>
          <a:prstGeom prst="rect">
            <a:avLst/>
          </a:prstGeom>
        </p:spPr>
        <p:txBody>
          <a:bodyPr/>
          <a:lstStyle>
            <a:lvl1pPr>
              <a:defRPr sz="3600" b="0" i="0">
                <a:solidFill>
                  <a:schemeClr val="bg1"/>
                </a:solidFill>
                <a:latin typeface="Calibri Normaali" charset="0"/>
                <a:ea typeface="Calibri Normaali" charset="0"/>
                <a:cs typeface="Calibri Normaal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9883273" y="6335041"/>
            <a:ext cx="447842" cy="30536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rgbClr val="005A9B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0585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usta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D060F890-2C95-428D-A2F2-D9779C983F59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2766058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7991614"/>
      </p:ext>
    </p:extLst>
  </p:cSld>
  <p:clrMapOvr>
    <a:masterClrMapping/>
  </p:clrMapOvr>
  <p:transition spd="slow">
    <p:push dir="u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025A4AE6-C6AA-47B1-8CD5-4B4609C710A4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52939" y="2033191"/>
            <a:ext cx="5332663" cy="2757312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3529220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562002" y="751023"/>
            <a:ext cx="5157259" cy="440304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CC84FA8A-1325-4135-B1DB-857DD596D5BC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850563"/>
      </p:ext>
    </p:extLst>
  </p:cSld>
  <p:clrMapOvr>
    <a:masterClrMapping/>
  </p:clrMapOvr>
  <p:transition spd="slow">
    <p:push dir="u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öreä 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-2288004" y="-481188"/>
            <a:ext cx="7668127" cy="7666943"/>
          </a:xfrm>
          <a:custGeom>
            <a:avLst/>
            <a:gdLst>
              <a:gd name="connsiteX0" fmla="*/ 5751095 w 11502190"/>
              <a:gd name="connsiteY0" fmla="*/ 0 h 11502190"/>
              <a:gd name="connsiteX1" fmla="*/ 11502190 w 11502190"/>
              <a:gd name="connsiteY1" fmla="*/ 5751095 h 11502190"/>
              <a:gd name="connsiteX2" fmla="*/ 5751095 w 11502190"/>
              <a:gd name="connsiteY2" fmla="*/ 11502190 h 11502190"/>
              <a:gd name="connsiteX3" fmla="*/ 0 w 11502190"/>
              <a:gd name="connsiteY3" fmla="*/ 5751095 h 11502190"/>
              <a:gd name="connsiteX4" fmla="*/ 5751095 w 11502190"/>
              <a:gd name="connsiteY4" fmla="*/ 0 h 11502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2190" h="11502190">
                <a:moveTo>
                  <a:pt x="5751095" y="0"/>
                </a:moveTo>
                <a:cubicBezTo>
                  <a:pt x="8927337" y="0"/>
                  <a:pt x="11502190" y="2574853"/>
                  <a:pt x="11502190" y="5751095"/>
                </a:cubicBezTo>
                <a:cubicBezTo>
                  <a:pt x="11502190" y="8927337"/>
                  <a:pt x="8927337" y="11502190"/>
                  <a:pt x="5751095" y="11502190"/>
                </a:cubicBezTo>
                <a:cubicBezTo>
                  <a:pt x="2574853" y="11502190"/>
                  <a:pt x="0" y="8927337"/>
                  <a:pt x="0" y="5751095"/>
                </a:cubicBezTo>
                <a:cubicBezTo>
                  <a:pt x="0" y="2574853"/>
                  <a:pt x="2574853" y="0"/>
                  <a:pt x="5751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rgbClr val="005A9B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6016571" y="996965"/>
            <a:ext cx="5640693" cy="433888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110983"/>
      </p:ext>
    </p:extLst>
  </p:cSld>
  <p:clrMapOvr>
    <a:masterClrMapping/>
  </p:clrMapOvr>
  <p:transition spd="slow">
    <p:push dir="u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75368" y="962380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515184" y="962380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255000" y="962380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B2F9CD28-08B7-4C9E-B75D-8F366717F2B6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5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37697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74BE6B3-307D-41F0-B2A8-C4BA8B7F39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84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isält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070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344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825344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F00C14A1-C778-4977-B9A9-1E32FEA1745D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614093"/>
      </p:ext>
    </p:extLst>
  </p:cSld>
  <p:clrMapOvr>
    <a:masterClrMapping/>
  </p:clrMapOvr>
  <p:transition spd="slow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52642" y="2182895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E518D3EB-E872-47B6-8F33-AE46CA1D5A19}" type="datetime1">
              <a:rPr lang="fi-FI" smtClean="0"/>
              <a:t>8.3.2022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378089"/>
      </p:ext>
    </p:extLst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CCBA1F7C-A032-4105-8358-B5B54F7C4488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085836"/>
      </p:ext>
    </p:extLst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8603" y="923116"/>
            <a:ext cx="10206009" cy="4444815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sz="1866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sz="1600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07B36E22-A2F3-41E8-B3A6-A08B920F4243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367095"/>
      </p:ext>
    </p:extLst>
  </p:cSld>
  <p:clrMapOvr>
    <a:masterClrMapping/>
  </p:clrMapOvr>
  <p:transition spd="slow">
    <p:push dir="u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a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F050FED0-A539-4F61-97F4-28540A6FE429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87546"/>
      </p:ext>
    </p:extLst>
  </p:cSld>
  <p:clrMapOvr>
    <a:masterClrMapping/>
  </p:clrMapOvr>
  <p:transition spd="slow">
    <p:push dir="u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>
          <a:xfrm>
            <a:off x="0" y="0"/>
            <a:ext cx="5240421" cy="6858000"/>
          </a:xfrm>
          <a:prstGeom prst="rect">
            <a:avLst/>
          </a:prstGeom>
          <a:solidFill>
            <a:srgbClr val="005A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5785853" y="866141"/>
            <a:ext cx="5933407" cy="4929512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>
              <a:defRPr sz="1866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2pPr>
            <a:lvl3pPr>
              <a:defRPr sz="1600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3pPr>
            <a:lvl4pPr>
              <a:defRPr sz="1333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4pPr>
            <a:lvl5pPr>
              <a:defRPr sz="1333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01053" y="866141"/>
            <a:ext cx="4438316" cy="4587333"/>
          </a:xfrm>
          <a:prstGeom prst="rect">
            <a:avLst/>
          </a:prstGeom>
        </p:spPr>
        <p:txBody>
          <a:bodyPr/>
          <a:lstStyle>
            <a:lvl1pPr>
              <a:defRPr sz="3600" b="0" i="0">
                <a:solidFill>
                  <a:schemeClr val="bg1"/>
                </a:solidFill>
                <a:latin typeface="Calibri Normaali" charset="0"/>
                <a:ea typeface="Calibri Normaali" charset="0"/>
                <a:cs typeface="Calibri Normaal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9883273" y="6335041"/>
            <a:ext cx="447842" cy="30536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rgbClr val="005A9B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0732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usta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9E351A81-4310-4120-93FD-2EEC2F2EFF24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2766058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4118403"/>
      </p:ext>
    </p:extLst>
  </p:cSld>
  <p:clrMapOvr>
    <a:masterClrMapping/>
  </p:clrMapOvr>
  <p:transition spd="slow">
    <p:push dir="u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938E9003-B070-4F27-8DA0-3E696E0BE259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52939" y="2033191"/>
            <a:ext cx="5332663" cy="2757312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5055471"/>
      </p:ext>
    </p:extLst>
  </p:cSld>
  <p:clrMapOvr>
    <a:masterClrMapping/>
  </p:clrMapOvr>
  <p:transition spd="slow">
    <p:push dir="u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562002" y="751023"/>
            <a:ext cx="5157259" cy="440304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7B6C53FD-E89B-40C1-AAE0-3512B8E1C13E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094090"/>
      </p:ext>
    </p:extLst>
  </p:cSld>
  <p:clrMapOvr>
    <a:masterClrMapping/>
  </p:clrMapOvr>
  <p:transition spd="slow">
    <p:push dir="u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öreä 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-2288004" y="-481188"/>
            <a:ext cx="7668127" cy="7666943"/>
          </a:xfrm>
          <a:custGeom>
            <a:avLst/>
            <a:gdLst>
              <a:gd name="connsiteX0" fmla="*/ 5751095 w 11502190"/>
              <a:gd name="connsiteY0" fmla="*/ 0 h 11502190"/>
              <a:gd name="connsiteX1" fmla="*/ 11502190 w 11502190"/>
              <a:gd name="connsiteY1" fmla="*/ 5751095 h 11502190"/>
              <a:gd name="connsiteX2" fmla="*/ 5751095 w 11502190"/>
              <a:gd name="connsiteY2" fmla="*/ 11502190 h 11502190"/>
              <a:gd name="connsiteX3" fmla="*/ 0 w 11502190"/>
              <a:gd name="connsiteY3" fmla="*/ 5751095 h 11502190"/>
              <a:gd name="connsiteX4" fmla="*/ 5751095 w 11502190"/>
              <a:gd name="connsiteY4" fmla="*/ 0 h 11502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2190" h="11502190">
                <a:moveTo>
                  <a:pt x="5751095" y="0"/>
                </a:moveTo>
                <a:cubicBezTo>
                  <a:pt x="8927337" y="0"/>
                  <a:pt x="11502190" y="2574853"/>
                  <a:pt x="11502190" y="5751095"/>
                </a:cubicBezTo>
                <a:cubicBezTo>
                  <a:pt x="11502190" y="8927337"/>
                  <a:pt x="8927337" y="11502190"/>
                  <a:pt x="5751095" y="11502190"/>
                </a:cubicBezTo>
                <a:cubicBezTo>
                  <a:pt x="2574853" y="11502190"/>
                  <a:pt x="0" y="8927337"/>
                  <a:pt x="0" y="5751095"/>
                </a:cubicBezTo>
                <a:cubicBezTo>
                  <a:pt x="0" y="2574853"/>
                  <a:pt x="2574853" y="0"/>
                  <a:pt x="5751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rgbClr val="005A9B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6016571" y="996965"/>
            <a:ext cx="5640693" cy="433888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6402017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03B558-6B57-4598-B3E8-8733F4936D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5552604A-B175-485B-A43B-71C444DF9965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928AD-5ED4-4BF6-839E-DB314089D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890241-FB3C-4BAC-8DB3-B8C212506C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0014D83-E6A2-42CD-93B8-2757E8E6A3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6" name="Picture 1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AB84055-9B6F-4667-A415-4141BF2F68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471F456E-EC89-42DF-8E0F-AF14097D32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994" y="1686720"/>
            <a:ext cx="3649916" cy="347472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B27861D-71CD-4784-A6DE-E6BC1DB56222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244C952-ACC9-4870-B87B-DE9F734AC3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8644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75368" y="962380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515184" y="962380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255000" y="962380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B0DFFC24-38C4-4A59-A2CF-5BB13E113AE7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5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09959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isält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070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344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825344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0E1E9E63-66FD-436F-AD62-97FE1428A788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12351"/>
      </p:ext>
    </p:extLst>
  </p:cSld>
  <p:clrMapOvr>
    <a:masterClrMapping/>
  </p:clrMapOvr>
  <p:transition spd="slow">
    <p:push dir="u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52642" y="2182895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8CB7B488-7F57-4A4E-9809-2CAB5DBE13B2}" type="datetime1">
              <a:rPr lang="fi-FI" smtClean="0"/>
              <a:t>8.3.2022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075024"/>
      </p:ext>
    </p:extLst>
  </p:cSld>
  <p:clrMapOvr>
    <a:masterClrMapping/>
  </p:clrMapOvr>
  <p:transition spd="slow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689A73FC-72AD-4CD5-AD0F-9CFE3925683B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088371"/>
      </p:ext>
    </p:extLst>
  </p:cSld>
  <p:clrMapOvr>
    <a:masterClrMapping/>
  </p:clrMapOvr>
  <p:transition spd="slow">
    <p:push dir="u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8603" y="923116"/>
            <a:ext cx="10206009" cy="4444815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sz="1866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sz="1600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D3E574B5-3D13-4F03-B224-82A7714D0DE3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309130"/>
      </p:ext>
    </p:extLst>
  </p:cSld>
  <p:clrMapOvr>
    <a:masterClrMapping/>
  </p:clrMapOvr>
  <p:transition spd="slow">
    <p:push dir="u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a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78DD83B1-B98D-47DC-BEF7-D71AC794AB01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9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9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842739"/>
      </p:ext>
    </p:extLst>
  </p:cSld>
  <p:clrMapOvr>
    <a:masterClrMapping/>
  </p:clrMapOvr>
  <p:transition spd="slow">
    <p:push dir="u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>
          <a:xfrm>
            <a:off x="0" y="0"/>
            <a:ext cx="5240421" cy="6858000"/>
          </a:xfrm>
          <a:prstGeom prst="rect">
            <a:avLst/>
          </a:prstGeom>
          <a:solidFill>
            <a:srgbClr val="005A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5785853" y="866141"/>
            <a:ext cx="5933407" cy="4929512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>
              <a:defRPr sz="1866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2pPr>
            <a:lvl3pPr>
              <a:defRPr sz="1600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3pPr>
            <a:lvl4pPr>
              <a:defRPr sz="1333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4pPr>
            <a:lvl5pPr>
              <a:defRPr sz="1333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01053" y="866141"/>
            <a:ext cx="4438316" cy="4587333"/>
          </a:xfrm>
          <a:prstGeom prst="rect">
            <a:avLst/>
          </a:prstGeom>
        </p:spPr>
        <p:txBody>
          <a:bodyPr/>
          <a:lstStyle>
            <a:lvl1pPr>
              <a:defRPr sz="3600" b="0" i="0">
                <a:solidFill>
                  <a:schemeClr val="bg1"/>
                </a:solidFill>
                <a:latin typeface="Calibri Normaali" charset="0"/>
                <a:ea typeface="Calibri Normaali" charset="0"/>
                <a:cs typeface="Calibri Normaal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9883273" y="6335041"/>
            <a:ext cx="447842" cy="30536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rgbClr val="005A9B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6755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usta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D78A86F0-3564-41FE-8533-C7F02CD853E7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2766057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6225829"/>
      </p:ext>
    </p:extLst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1702BA5A-8496-448C-89B6-139DD992C50E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52938" y="2033191"/>
            <a:ext cx="5332663" cy="2757312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2377581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309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562001" y="751022"/>
            <a:ext cx="5157259" cy="440304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94EC1D0E-30F3-454B-AD4A-264E131CCBA8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97946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5D0F3E8B-B9D6-401B-89DB-DECA733FA2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D2C8CA8-8603-41A4-9DD3-10B8144817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45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öreä kuva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-2288005" y="-481189"/>
            <a:ext cx="7668127" cy="7666943"/>
          </a:xfrm>
          <a:custGeom>
            <a:avLst/>
            <a:gdLst>
              <a:gd name="connsiteX0" fmla="*/ 5751095 w 11502190"/>
              <a:gd name="connsiteY0" fmla="*/ 0 h 11502190"/>
              <a:gd name="connsiteX1" fmla="*/ 11502190 w 11502190"/>
              <a:gd name="connsiteY1" fmla="*/ 5751095 h 11502190"/>
              <a:gd name="connsiteX2" fmla="*/ 5751095 w 11502190"/>
              <a:gd name="connsiteY2" fmla="*/ 11502190 h 11502190"/>
              <a:gd name="connsiteX3" fmla="*/ 0 w 11502190"/>
              <a:gd name="connsiteY3" fmla="*/ 5751095 h 11502190"/>
              <a:gd name="connsiteX4" fmla="*/ 5751095 w 11502190"/>
              <a:gd name="connsiteY4" fmla="*/ 0 h 11502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2190" h="11502190">
                <a:moveTo>
                  <a:pt x="5751095" y="0"/>
                </a:moveTo>
                <a:cubicBezTo>
                  <a:pt x="8927337" y="0"/>
                  <a:pt x="11502190" y="2574853"/>
                  <a:pt x="11502190" y="5751095"/>
                </a:cubicBezTo>
                <a:cubicBezTo>
                  <a:pt x="11502190" y="8927337"/>
                  <a:pt x="8927337" y="11502190"/>
                  <a:pt x="5751095" y="11502190"/>
                </a:cubicBezTo>
                <a:cubicBezTo>
                  <a:pt x="2574853" y="11502190"/>
                  <a:pt x="0" y="8927337"/>
                  <a:pt x="0" y="5751095"/>
                </a:cubicBezTo>
                <a:cubicBezTo>
                  <a:pt x="0" y="2574853"/>
                  <a:pt x="2574853" y="0"/>
                  <a:pt x="5751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rgbClr val="005A9B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6016570" y="996964"/>
            <a:ext cx="5640693" cy="433888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2pPr>
            <a:lvl3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3pPr>
            <a:lvl4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4pPr>
            <a:lvl5pPr>
              <a:defRPr b="0" i="0">
                <a:solidFill>
                  <a:srgbClr val="005A9B"/>
                </a:solidFill>
                <a:latin typeface="Montserrat Medium" charset="0"/>
                <a:ea typeface="Montserrat Medium" charset="0"/>
                <a:cs typeface="Montserrat Medium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2959333"/>
      </p:ext>
    </p:extLst>
  </p:cSld>
  <p:clrMapOvr>
    <a:masterClrMapping/>
  </p:clrMapOvr>
  <p:transition spd="slow">
    <p:push dir="u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75368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515184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255000" y="962379"/>
            <a:ext cx="3161632" cy="42110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B5A19212-BC7A-47FD-8201-4E5F477B2FE3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5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8603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isält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069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343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825343"/>
            <a:ext cx="5207000" cy="364951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3BCACDB7-5E5B-4745-B92D-B250BB0AEB88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chemeClr val="bg1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036946"/>
      </p:ext>
    </p:extLst>
  </p:cSld>
  <p:clrMapOvr>
    <a:masterClrMapping/>
  </p:clrMapOvr>
  <p:transition spd="slow">
    <p:push dir="u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52642" y="2182894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FD2E85DB-26E4-463C-9F00-29ED32F5E7DC}" type="datetime1">
              <a:rPr lang="fi-FI" smtClean="0"/>
              <a:t>8.3.2022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386772"/>
      </p:ext>
    </p:extLst>
  </p:cSld>
  <p:clrMapOvr>
    <a:masterClrMapping/>
  </p:clrMapOvr>
  <p:transition spd="slow">
    <p:push dir="u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3203E3B7-DA66-45FB-B7BC-C57F15DCE17D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029098"/>
      </p:ext>
    </p:extLst>
  </p:cSld>
  <p:clrMapOvr>
    <a:masterClrMapping/>
  </p:clrMapOvr>
  <p:transition spd="slow">
    <p:push dir="u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8602" y="923115"/>
            <a:ext cx="10206009" cy="4444815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sz="1866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sz="1600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4pPr>
            <a:lvl5pPr>
              <a:defRPr sz="1333"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E9B6BAF1-37A7-495E-BEA5-88F14F3375E2}" type="datetime1">
              <a:rPr lang="fi-FI" smtClean="0"/>
              <a:t>8.3.2022</a:t>
            </a:fld>
            <a:endParaRPr lang="en-US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864362"/>
      </p:ext>
    </p:extLst>
  </p:cSld>
  <p:clrMapOvr>
    <a:masterClrMapping/>
  </p:clrMapOvr>
  <p:transition spd="slow">
    <p:push dir="u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a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FC7FD1A-4D9B-4DC4-94FD-BE765A208A31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755437"/>
      </p:ext>
    </p:extLst>
  </p:cSld>
  <p:clrMapOvr>
    <a:masterClrMapping/>
  </p:clrMapOvr>
  <p:transition spd="slow">
    <p:push dir="u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3556742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7327F2-37F3-4CED-A244-7DF7E8C5D5BA}" type="datetime1">
              <a:rPr lang="fi-FI" smtClean="0"/>
              <a:t>8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488B5-D842-4874-B534-160E9258EB96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315580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ustakuva ja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5A9B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382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E7F2C89-71E3-43F7-ACF6-85C974DFEE62}" type="datetime1">
              <a:rPr lang="fi-FI" smtClean="0"/>
              <a:t>8.3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38600" y="6356428"/>
            <a:ext cx="41148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8610600" y="6356428"/>
            <a:ext cx="2743200" cy="365068"/>
          </a:xfrm>
          <a:prstGeom prst="rect">
            <a:avLst/>
          </a:prstGeom>
        </p:spPr>
        <p:txBody>
          <a:bodyPr/>
          <a:lstStyle>
            <a:lvl1pPr>
              <a:defRPr sz="933"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fld id="{47CC6391-E5AA-4B2F-B19C-1C030F29CA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2766057"/>
            <a:ext cx="10515600" cy="1325887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005A9B"/>
                </a:solidFill>
                <a:latin typeface="Montserrat SemiBold" charset="0"/>
                <a:ea typeface="Montserrat SemiBold" charset="0"/>
                <a:cs typeface="Montserrat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1393894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2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5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heme" Target="../theme/theme3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6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4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7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theme" Target="../theme/theme5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8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theme" Target="../theme/theme6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00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theme" Target="../theme/theme7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2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vmlDrawing" Target="../drawings/vmlDrawing7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theme" Target="../theme/theme8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4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vmlDrawing" Target="../drawings/vmlDrawing8.v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47" Type="http://schemas.openxmlformats.org/officeDocument/2006/relationships/slideLayout" Target="../slideLayouts/slideLayout181.xml"/><Relationship Id="rId50" Type="http://schemas.openxmlformats.org/officeDocument/2006/relationships/slideLayout" Target="../slideLayouts/slideLayout184.xml"/><Relationship Id="rId55" Type="http://schemas.openxmlformats.org/officeDocument/2006/relationships/theme" Target="../theme/theme9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54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45" Type="http://schemas.openxmlformats.org/officeDocument/2006/relationships/slideLayout" Target="../slideLayouts/slideLayout179.xml"/><Relationship Id="rId53" Type="http://schemas.openxmlformats.org/officeDocument/2006/relationships/slideLayout" Target="../slideLayouts/slideLayout187.xml"/><Relationship Id="rId58" Type="http://schemas.openxmlformats.org/officeDocument/2006/relationships/oleObject" Target="../embeddings/oleObject9.bin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49" Type="http://schemas.openxmlformats.org/officeDocument/2006/relationships/slideLayout" Target="../slideLayouts/slideLayout183.xml"/><Relationship Id="rId57" Type="http://schemas.openxmlformats.org/officeDocument/2006/relationships/tags" Target="../tags/tag10.xml"/><Relationship Id="rId61" Type="http://schemas.openxmlformats.org/officeDocument/2006/relationships/image" Target="../media/image3.png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4" Type="http://schemas.openxmlformats.org/officeDocument/2006/relationships/slideLayout" Target="../slideLayouts/slideLayout178.xml"/><Relationship Id="rId52" Type="http://schemas.openxmlformats.org/officeDocument/2006/relationships/slideLayout" Target="../slideLayouts/slideLayout186.xml"/><Relationship Id="rId60" Type="http://schemas.openxmlformats.org/officeDocument/2006/relationships/image" Target="../media/image2.png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slideLayout" Target="../slideLayouts/slideLayout177.xml"/><Relationship Id="rId48" Type="http://schemas.openxmlformats.org/officeDocument/2006/relationships/slideLayout" Target="../slideLayouts/slideLayout182.xml"/><Relationship Id="rId56" Type="http://schemas.openxmlformats.org/officeDocument/2006/relationships/vmlDrawing" Target="../drawings/vmlDrawing9.vml"/><Relationship Id="rId8" Type="http://schemas.openxmlformats.org/officeDocument/2006/relationships/slideLayout" Target="../slideLayouts/slideLayout142.xml"/><Relationship Id="rId51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46" Type="http://schemas.openxmlformats.org/officeDocument/2006/relationships/slideLayout" Target="../slideLayouts/slideLayout180.xml"/><Relationship Id="rId5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715407-C651-43E6-BC8B-1CBB171C6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337888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7" imgW="395" imgH="394" progId="TCLayout.ActiveDocument.1">
                  <p:embed/>
                </p:oleObj>
              </mc:Choice>
              <mc:Fallback>
                <p:oleObj name="think-cell Slide" r:id="rId57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715407-C651-43E6-BC8B-1CBB171C6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4675C3-A68A-494B-A887-BB4F9C595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4F11B-CC2F-4841-B144-357C828B9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16872D-DE43-4755-8211-BDAE2EE6B3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3495" y="6257748"/>
            <a:ext cx="1074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EE7E77B2-3C45-4416-950E-C31ABE3F3CB8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66FFF-A4FB-4489-9B49-5DDC688AA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5568" y="6257749"/>
            <a:ext cx="6034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34F72BBA-3120-418C-94D3-114F2CB31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B4A78410-7DAE-4BD5-ACEE-CAF6BFA9404C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431617"/>
            <a:ext cx="821524" cy="6963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8F5E9F-A37F-4244-A1FD-705A898F7F45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668" y="6242935"/>
            <a:ext cx="231755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04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3" r:id="rId2"/>
    <p:sldLayoutId id="2147483778" r:id="rId3"/>
    <p:sldLayoutId id="2147483780" r:id="rId4"/>
    <p:sldLayoutId id="2147483779" r:id="rId5"/>
    <p:sldLayoutId id="2147483782" r:id="rId6"/>
    <p:sldLayoutId id="2147483781" r:id="rId7"/>
    <p:sldLayoutId id="2147483777" r:id="rId8"/>
    <p:sldLayoutId id="2147483783" r:id="rId9"/>
    <p:sldLayoutId id="2147483784" r:id="rId10"/>
    <p:sldLayoutId id="2147483786" r:id="rId11"/>
    <p:sldLayoutId id="2147483785" r:id="rId12"/>
    <p:sldLayoutId id="2147483788" r:id="rId13"/>
    <p:sldLayoutId id="2147483787" r:id="rId14"/>
    <p:sldLayoutId id="2147483650" r:id="rId15"/>
    <p:sldLayoutId id="2147483764" r:id="rId16"/>
    <p:sldLayoutId id="2147483713" r:id="rId17"/>
    <p:sldLayoutId id="2147483765" r:id="rId18"/>
    <p:sldLayoutId id="2147483652" r:id="rId19"/>
    <p:sldLayoutId id="2147483718" r:id="rId20"/>
    <p:sldLayoutId id="2147483651" r:id="rId21"/>
    <p:sldLayoutId id="2147483708" r:id="rId22"/>
    <p:sldLayoutId id="2147483734" r:id="rId23"/>
    <p:sldLayoutId id="2147483712" r:id="rId24"/>
    <p:sldLayoutId id="2147483735" r:id="rId25"/>
    <p:sldLayoutId id="2147483720" r:id="rId26"/>
    <p:sldLayoutId id="2147483736" r:id="rId27"/>
    <p:sldLayoutId id="2147483655" r:id="rId28"/>
    <p:sldLayoutId id="2147483802" r:id="rId29"/>
    <p:sldLayoutId id="2147483726" r:id="rId30"/>
    <p:sldLayoutId id="2147483727" r:id="rId31"/>
    <p:sldLayoutId id="2147483670" r:id="rId32"/>
    <p:sldLayoutId id="2147483737" r:id="rId33"/>
    <p:sldLayoutId id="2147483702" r:id="rId34"/>
    <p:sldLayoutId id="2147483738" r:id="rId35"/>
    <p:sldLayoutId id="2147483721" r:id="rId36"/>
    <p:sldLayoutId id="2147483739" r:id="rId37"/>
    <p:sldLayoutId id="2147483767" r:id="rId38"/>
    <p:sldLayoutId id="2147483770" r:id="rId39"/>
    <p:sldLayoutId id="2147483772" r:id="rId40"/>
    <p:sldLayoutId id="2147483789" r:id="rId41"/>
    <p:sldLayoutId id="2147483790" r:id="rId42"/>
    <p:sldLayoutId id="2147483791" r:id="rId43"/>
    <p:sldLayoutId id="2147483656" r:id="rId44"/>
    <p:sldLayoutId id="2147483657" r:id="rId45"/>
    <p:sldLayoutId id="2147483803" r:id="rId46"/>
    <p:sldLayoutId id="2147483804" r:id="rId47"/>
    <p:sldLayoutId id="2147483805" r:id="rId48"/>
    <p:sldLayoutId id="2147483806" r:id="rId49"/>
    <p:sldLayoutId id="2147483807" r:id="rId50"/>
    <p:sldLayoutId id="2147483808" r:id="rId51"/>
    <p:sldLayoutId id="2147483658" r:id="rId52"/>
    <p:sldLayoutId id="2147483659" r:id="rId5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0">
          <a:solidFill>
            <a:schemeClr val="tx1"/>
          </a:solidFill>
          <a:latin typeface="Poppins ExtraBold" panose="00000900000000000000" pitchFamily="2" charset="0"/>
          <a:ea typeface="+mj-ea"/>
          <a:cs typeface="Poppins ExtraBold" panose="000009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F92766-BE37-4D8F-AB73-23E3D40E8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2943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F92766-BE37-4D8F-AB73-23E3D40E8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674" y="5418409"/>
            <a:ext cx="1748979" cy="113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575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</p:sldLayoutIdLst>
  <p:transition spd="slow">
    <p:push dir="u"/>
  </p:transition>
  <p:hf hdr="0" ftr="0"/>
  <p:txStyles>
    <p:titleStyle>
      <a:lvl1pPr algn="l" defTabSz="609478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70" indent="-152370" algn="l" defTabSz="6094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848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587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6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064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0804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543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282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40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478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218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8956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696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434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174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7912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F92766-BE37-4D8F-AB73-23E3D40E8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7788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F92766-BE37-4D8F-AB73-23E3D40E8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674" y="5418409"/>
            <a:ext cx="1748979" cy="113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205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</p:sldLayoutIdLst>
  <p:transition spd="slow">
    <p:push dir="u"/>
  </p:transition>
  <p:hf hdr="0" ftr="0"/>
  <p:txStyles>
    <p:titleStyle>
      <a:lvl1pPr algn="l" defTabSz="609478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70" indent="-152370" algn="l" defTabSz="6094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848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587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6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064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0804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543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282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40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478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218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8956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696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434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174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7912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F92766-BE37-4D8F-AB73-23E3D40E8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46740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F92766-BE37-4D8F-AB73-23E3D40E8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674" y="5418409"/>
            <a:ext cx="1748979" cy="113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6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 spd="slow">
    <p:push dir="u"/>
  </p:transition>
  <p:hf hdr="0" ftr="0"/>
  <p:txStyles>
    <p:titleStyle>
      <a:lvl1pPr algn="l" defTabSz="609478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70" indent="-152370" algn="l" defTabSz="6094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848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587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6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064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0804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543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282" indent="-152370" algn="l" defTabSz="609478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40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478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218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8956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696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434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174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7912" algn="l" defTabSz="6094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F92766-BE37-4D8F-AB73-23E3D40E8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0266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F92766-BE37-4D8F-AB73-23E3D40E8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673" y="5418409"/>
            <a:ext cx="1748979" cy="113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886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</p:sldLayoutIdLst>
  <p:transition spd="slow">
    <p:push dir="u"/>
  </p:transition>
  <p:hf hdr="0" ftr="0"/>
  <p:txStyles>
    <p:titleStyle>
      <a:lvl1pPr algn="l" defTabSz="609539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85" indent="-152385" algn="l" defTabSz="6095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24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693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232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002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771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541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70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39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09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078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848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617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387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156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F92766-BE37-4D8F-AB73-23E3D40E8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90976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F92766-BE37-4D8F-AB73-23E3D40E8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673" y="5418409"/>
            <a:ext cx="1748979" cy="113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956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</p:sldLayoutIdLst>
  <p:transition spd="slow">
    <p:push dir="u"/>
  </p:transition>
  <p:hf hdr="0" ftr="0"/>
  <p:txStyles>
    <p:titleStyle>
      <a:lvl1pPr algn="l" defTabSz="609539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85" indent="-152385" algn="l" defTabSz="6095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24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693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232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002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771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541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70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39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09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078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848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617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387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156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F92766-BE37-4D8F-AB73-23E3D40E8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51436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F92766-BE37-4D8F-AB73-23E3D40E8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673" y="5418409"/>
            <a:ext cx="1748979" cy="113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00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</p:sldLayoutIdLst>
  <p:transition spd="slow">
    <p:push dir="u"/>
  </p:transition>
  <p:hf hdr="0" ftr="0"/>
  <p:txStyles>
    <p:titleStyle>
      <a:lvl1pPr algn="l" defTabSz="609539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85" indent="-152385" algn="l" defTabSz="6095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24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693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232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002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771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541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70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39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09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078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848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617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387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156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F92766-BE37-4D8F-AB73-23E3D40E8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3150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F92766-BE37-4D8F-AB73-23E3D40E8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673" y="5418409"/>
            <a:ext cx="1748979" cy="113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314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</p:sldLayoutIdLst>
  <p:transition spd="slow">
    <p:push dir="u"/>
  </p:transition>
  <p:hf hdr="0" ftr="0"/>
  <p:txStyles>
    <p:titleStyle>
      <a:lvl1pPr algn="l" defTabSz="609539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385" indent="-152385" algn="l" defTabSz="6095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24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693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232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002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5771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541" indent="-152385" algn="l" defTabSz="609539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70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39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09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078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848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617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387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156" algn="l" defTabSz="609539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EA3D30-7FAC-406B-9DD1-8BCE0748A2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424002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8" imgW="592" imgH="591" progId="TCLayout.ActiveDocument.1">
                  <p:embed/>
                </p:oleObj>
              </mc:Choice>
              <mc:Fallback>
                <p:oleObj name="think-cell Slide" r:id="rId5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EA3D30-7FAC-406B-9DD1-8BCE0748A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4675C3-A68A-494B-A887-BB4F9C595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4F11B-CC2F-4841-B144-357C828B9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16872D-DE43-4755-8211-BDAE2EE6B3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3495" y="6257748"/>
            <a:ext cx="1074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316DA96C-9C5C-4D61-9DA6-02AD79FF6FCC}" type="datetime1">
              <a:rPr lang="fi-FI" smtClean="0"/>
              <a:t>8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66FFF-A4FB-4489-9B49-5DDC688AA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5568" y="6257749"/>
            <a:ext cx="6034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34F72BBA-3120-418C-94D3-114F2CB31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endParaRPr lang="fi-FI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B4A78410-7DAE-4BD5-ACEE-CAF6BFA9404C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431617"/>
            <a:ext cx="821524" cy="6963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8F5E9F-A37F-4244-A1FD-705A898F7F45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668" y="6242935"/>
            <a:ext cx="231755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163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3" r:id="rId19"/>
    <p:sldLayoutId id="2147484104" r:id="rId20"/>
    <p:sldLayoutId id="2147484105" r:id="rId21"/>
    <p:sldLayoutId id="2147484106" r:id="rId22"/>
    <p:sldLayoutId id="2147484107" r:id="rId23"/>
    <p:sldLayoutId id="2147484108" r:id="rId24"/>
    <p:sldLayoutId id="2147484109" r:id="rId25"/>
    <p:sldLayoutId id="2147484110" r:id="rId26"/>
    <p:sldLayoutId id="2147484111" r:id="rId27"/>
    <p:sldLayoutId id="2147484112" r:id="rId28"/>
    <p:sldLayoutId id="2147484113" r:id="rId29"/>
    <p:sldLayoutId id="2147484114" r:id="rId30"/>
    <p:sldLayoutId id="2147484115" r:id="rId31"/>
    <p:sldLayoutId id="2147484116" r:id="rId32"/>
    <p:sldLayoutId id="2147484117" r:id="rId33"/>
    <p:sldLayoutId id="2147484118" r:id="rId34"/>
    <p:sldLayoutId id="2147484119" r:id="rId35"/>
    <p:sldLayoutId id="2147484120" r:id="rId36"/>
    <p:sldLayoutId id="2147484121" r:id="rId37"/>
    <p:sldLayoutId id="2147484122" r:id="rId38"/>
    <p:sldLayoutId id="2147484123" r:id="rId39"/>
    <p:sldLayoutId id="2147484124" r:id="rId40"/>
    <p:sldLayoutId id="2147484125" r:id="rId41"/>
    <p:sldLayoutId id="2147484126" r:id="rId42"/>
    <p:sldLayoutId id="2147484127" r:id="rId43"/>
    <p:sldLayoutId id="2147484128" r:id="rId44"/>
    <p:sldLayoutId id="2147484129" r:id="rId45"/>
    <p:sldLayoutId id="2147484130" r:id="rId46"/>
    <p:sldLayoutId id="2147484131" r:id="rId47"/>
    <p:sldLayoutId id="2147484132" r:id="rId48"/>
    <p:sldLayoutId id="2147484133" r:id="rId49"/>
    <p:sldLayoutId id="2147484134" r:id="rId50"/>
    <p:sldLayoutId id="2147484135" r:id="rId51"/>
    <p:sldLayoutId id="2147484136" r:id="rId52"/>
    <p:sldLayoutId id="2147484137" r:id="rId53"/>
    <p:sldLayoutId id="2147484138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0">
          <a:solidFill>
            <a:schemeClr val="tx1"/>
          </a:solidFill>
          <a:latin typeface="Poppins ExtraBold" panose="00000900000000000000" pitchFamily="2" charset="0"/>
          <a:ea typeface="+mj-ea"/>
          <a:cs typeface="Poppins ExtraBold" panose="000009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9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30EAC1E-9630-4934-8BAC-8ADE23BD33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5" y="2000187"/>
            <a:ext cx="7900559" cy="2387600"/>
          </a:xfrm>
        </p:spPr>
        <p:txBody>
          <a:bodyPr>
            <a:normAutofit/>
          </a:bodyPr>
          <a:lstStyle/>
          <a:p>
            <a:r>
              <a:rPr lang="fi-FI" sz="4800" dirty="0"/>
              <a:t>Vantaan ja Keravan hyvinvointialueen strategiaprosessi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3F94203-F132-4D82-B147-CE51A733EE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5" y="4712987"/>
            <a:ext cx="7407164" cy="165576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Aluehallitus</a:t>
            </a:r>
          </a:p>
          <a:p>
            <a:r>
              <a:rPr lang="fi-FI" dirty="0"/>
              <a:t>15.3.2022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3F81F511-02DD-45E7-9D6E-F3A09601B1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D4052BFA-D1B1-4F10-9C2D-643307B963F0}" type="datetime1">
              <a:rPr lang="fi-FI" smtClean="0"/>
              <a:t>8.3.202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702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AAEC4F-35CD-4728-AAF9-5730761CB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2</a:t>
            </a:fld>
            <a:endParaRPr lang="fi-F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81ED81-D100-489F-B565-D3C0B9C28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445" y="499571"/>
            <a:ext cx="9394048" cy="334595"/>
          </a:xfrm>
        </p:spPr>
        <p:txBody>
          <a:bodyPr>
            <a:noAutofit/>
          </a:bodyPr>
          <a:lstStyle/>
          <a:p>
            <a:r>
              <a:rPr lang="fi-FI" sz="2400">
                <a:solidFill>
                  <a:srgbClr val="7030A0"/>
                </a:solidFill>
              </a:rPr>
              <a:t>Lainsäädännön edellyttämät strategiset ohjausasiakirja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40BF50-039D-44D0-BA43-38A5E63CAC03}"/>
              </a:ext>
            </a:extLst>
          </p:cNvPr>
          <p:cNvSpPr/>
          <p:nvPr/>
        </p:nvSpPr>
        <p:spPr bwMode="gray">
          <a:xfrm>
            <a:off x="589445" y="1153606"/>
            <a:ext cx="10936806" cy="28551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fi-FI" sz="1400" b="1">
                <a:solidFill>
                  <a:schemeClr val="tx1"/>
                </a:solidFill>
                <a:latin typeface="+mj-lt"/>
              </a:rPr>
              <a:t>Hyvinvointialuestrategi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5F64DA-07DD-4198-989C-8D5B73CCC50B}"/>
              </a:ext>
            </a:extLst>
          </p:cNvPr>
          <p:cNvSpPr txBox="1"/>
          <p:nvPr/>
        </p:nvSpPr>
        <p:spPr>
          <a:xfrm>
            <a:off x="589445" y="1476609"/>
            <a:ext cx="10936805" cy="6386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/>
              <a:t>Hyvinvointialueella on oltava strategia, jossa aluevaltuusto päättää </a:t>
            </a:r>
            <a:r>
              <a:rPr lang="fi-FI" sz="1100" u="sng" dirty="0"/>
              <a:t>hyvinvointialueen toiminnan ja talouden pitkän aikavälin tavoitteista</a:t>
            </a:r>
            <a:endParaRPr lang="fi-FI" sz="11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>
                <a:solidFill>
                  <a:schemeClr val="tx1"/>
                </a:solidFill>
              </a:rPr>
              <a:t>Hyvinvointialueen strategiassa tulee ottaa huomioon: asukkaiden</a:t>
            </a:r>
            <a:r>
              <a:rPr lang="fi-FI" sz="1100" b="1" dirty="0">
                <a:solidFill>
                  <a:schemeClr val="tx1"/>
                </a:solidFill>
              </a:rPr>
              <a:t> </a:t>
            </a:r>
            <a:r>
              <a:rPr lang="fi-FI" sz="1100" dirty="0">
                <a:solidFill>
                  <a:schemeClr val="tx1"/>
                </a:solidFill>
              </a:rPr>
              <a:t>hyvinvoinnin edistäminen hyvinvointialueen tehtäväalalla;</a:t>
            </a:r>
            <a:r>
              <a:rPr lang="fi-FI" sz="1100" b="1" dirty="0">
                <a:solidFill>
                  <a:schemeClr val="tx1"/>
                </a:solidFill>
              </a:rPr>
              <a:t> </a:t>
            </a:r>
            <a:r>
              <a:rPr lang="fi-FI" sz="1100" dirty="0">
                <a:solidFill>
                  <a:schemeClr val="tx1"/>
                </a:solidFill>
              </a:rPr>
              <a:t>palvelujen järjestämistä ja tuottamista koskevat strategiset linjaukset; hyvinvointialueen tehtäviä koskevissa laeissa säädetyt palvelutavoitteet; </a:t>
            </a:r>
            <a:r>
              <a:rPr lang="fi-FI" sz="1100" dirty="0"/>
              <a:t>o</a:t>
            </a:r>
            <a:r>
              <a:rPr lang="fi-FI" sz="1100" dirty="0">
                <a:solidFill>
                  <a:schemeClr val="tx1"/>
                </a:solidFill>
              </a:rPr>
              <a:t>mistajapolitiikka; henkilöstöpolitiikka sekä asukkaiden osallistumis- ja vaikuttamismahdollisuudet</a:t>
            </a:r>
            <a:endParaRPr lang="fi-FI" sz="11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C1EFFD-147B-4B25-BCB0-37254754506D}"/>
              </a:ext>
            </a:extLst>
          </p:cNvPr>
          <p:cNvSpPr/>
          <p:nvPr/>
        </p:nvSpPr>
        <p:spPr bwMode="gray">
          <a:xfrm>
            <a:off x="589445" y="2206533"/>
            <a:ext cx="5330090" cy="2259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fi-FI" sz="1200" b="1">
                <a:solidFill>
                  <a:schemeClr val="tx1"/>
                </a:solidFill>
                <a:latin typeface="+mj-lt"/>
              </a:rPr>
              <a:t>Sote-palvelustrategi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348A47-0E3B-4D3E-8F81-16C154ACA413}"/>
              </a:ext>
            </a:extLst>
          </p:cNvPr>
          <p:cNvSpPr/>
          <p:nvPr/>
        </p:nvSpPr>
        <p:spPr bwMode="gray">
          <a:xfrm>
            <a:off x="6215762" y="2206533"/>
            <a:ext cx="5310489" cy="2259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fi-FI" sz="1200" b="1">
                <a:solidFill>
                  <a:schemeClr val="tx1"/>
                </a:solidFill>
                <a:latin typeface="+mj-lt"/>
              </a:rPr>
              <a:t>Pelastustoimen palvelutasopäätö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735644-9E4E-4503-A0E2-474E421B6F3D}"/>
              </a:ext>
            </a:extLst>
          </p:cNvPr>
          <p:cNvSpPr txBox="1"/>
          <p:nvPr/>
        </p:nvSpPr>
        <p:spPr>
          <a:xfrm>
            <a:off x="589445" y="2419060"/>
            <a:ext cx="5506554" cy="13926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>
                <a:solidFill>
                  <a:prstClr val="black"/>
                </a:solidFill>
              </a:rPr>
              <a:t>Alueen laadittava taloutensa ja toimintansa suunnittelua ja johtamista varten palvelustrategia osana hyvinvointialuestrategiaa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>
                <a:solidFill>
                  <a:prstClr val="black"/>
                </a:solidFill>
              </a:rPr>
              <a:t>Palvelustrategiassa hyvinvointialue päättää järjestämisvastuulleen kuuluvan </a:t>
            </a:r>
            <a:r>
              <a:rPr lang="fi-FI" sz="1100" u="sng" dirty="0">
                <a:solidFill>
                  <a:prstClr val="black"/>
                </a:solidFill>
              </a:rPr>
              <a:t>sosiaali- ja terveydenhuollon pitkän aikavälin tavoitteet </a:t>
            </a:r>
            <a:r>
              <a:rPr lang="fi-FI" sz="1100" dirty="0">
                <a:solidFill>
                  <a:prstClr val="black"/>
                </a:solidFill>
              </a:rPr>
              <a:t>sekä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>
                <a:solidFill>
                  <a:prstClr val="black"/>
                </a:solidFill>
              </a:rPr>
              <a:t>tavoitteet sille, </a:t>
            </a:r>
            <a:r>
              <a:rPr lang="fi-FI" sz="1100" u="sng" dirty="0">
                <a:solidFill>
                  <a:prstClr val="black"/>
                </a:solidFill>
              </a:rPr>
              <a:t>miten</a:t>
            </a:r>
            <a:r>
              <a:rPr lang="fi-FI" sz="1100" dirty="0">
                <a:solidFill>
                  <a:prstClr val="black"/>
                </a:solidFill>
              </a:rPr>
              <a:t> palvelut toteutetaan ottaen huomioon asukkaiden tarpeet, paikalliset olosuhteet, palvelujen saatavuus ja saavutettavuus sekä kustannusvaikuttavuus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fi-FI" sz="11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48D964-03BA-4CC8-9A24-D0FBAE9EA71B}"/>
              </a:ext>
            </a:extLst>
          </p:cNvPr>
          <p:cNvSpPr txBox="1"/>
          <p:nvPr/>
        </p:nvSpPr>
        <p:spPr>
          <a:xfrm>
            <a:off x="6232964" y="2452461"/>
            <a:ext cx="531048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Aluevaltuusto päättää pelastustoimen palvelutasosta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Otettava huomioon kansallisesti merkittävät riskit, selvitettävä alueella esiintyvät uhkat ja arvioitava niistä aiheutuvat riskit sekä määriteltävä toiminnan tavoitteet, käytettävät voimavarat, tuotettavat palvelut ja niiden taso.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Huomioitava valtioneuvoston vahvistamat valtakunnalliset strategiset tavoitteet.</a:t>
            </a:r>
            <a:endParaRPr lang="fi-FI" sz="1100" b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34023B-55DA-4462-83C8-EE80AB3C1188}"/>
              </a:ext>
            </a:extLst>
          </p:cNvPr>
          <p:cNvSpPr/>
          <p:nvPr/>
        </p:nvSpPr>
        <p:spPr bwMode="gray">
          <a:xfrm>
            <a:off x="589445" y="3768408"/>
            <a:ext cx="5330089" cy="23807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36000" tIns="88900" rIns="36000" bIns="88900" rtlCol="0" anchor="ctr"/>
          <a:lstStyle/>
          <a:p>
            <a:pPr algn="ctr">
              <a:lnSpc>
                <a:spcPct val="106000"/>
              </a:lnSpc>
            </a:pPr>
            <a:r>
              <a:rPr lang="fi-FI" sz="1200" b="1">
                <a:solidFill>
                  <a:schemeClr val="bg1"/>
                </a:solidFill>
                <a:latin typeface="+mj-lt"/>
              </a:rPr>
              <a:t>     </a:t>
            </a:r>
            <a:r>
              <a:rPr lang="fi-FI" sz="1200" b="1">
                <a:solidFill>
                  <a:schemeClr val="tx1"/>
                </a:solidFill>
                <a:latin typeface="+mj-lt"/>
              </a:rPr>
              <a:t>Talousarvio ja -suunnitelm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63DE173-B459-43C3-93FF-154A71C6521C}"/>
              </a:ext>
            </a:extLst>
          </p:cNvPr>
          <p:cNvSpPr/>
          <p:nvPr/>
        </p:nvSpPr>
        <p:spPr bwMode="gray">
          <a:xfrm>
            <a:off x="6215762" y="3768407"/>
            <a:ext cx="5310489" cy="23807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36000" tIns="88900" rIns="36000" bIns="88900" rtlCol="0" anchor="ctr"/>
          <a:lstStyle/>
          <a:p>
            <a:pPr algn="ctr">
              <a:lnSpc>
                <a:spcPct val="106000"/>
              </a:lnSpc>
            </a:pPr>
            <a:r>
              <a:rPr lang="fi-FI" sz="1200" b="1">
                <a:solidFill>
                  <a:schemeClr val="tx1"/>
                </a:solidFill>
                <a:latin typeface="+mj-lt"/>
              </a:rPr>
              <a:t>Investointisuunnitelm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02C60D-7E83-4213-8355-60CB293FC1D2}"/>
              </a:ext>
            </a:extLst>
          </p:cNvPr>
          <p:cNvSpPr txBox="1"/>
          <p:nvPr/>
        </p:nvSpPr>
        <p:spPr>
          <a:xfrm>
            <a:off x="589445" y="4027220"/>
            <a:ext cx="538679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/>
              <a:t>Hyvinvointialueelle tehtävä vuosittainen talousarvio, jossa kuvataan hyvinvointialueen </a:t>
            </a:r>
            <a:r>
              <a:rPr lang="fi-FI" sz="1100" u="sng"/>
              <a:t>vuotuiset toiminnan ja talouden tavoitte</a:t>
            </a:r>
            <a:r>
              <a:rPr lang="fi-FI" sz="1100"/>
              <a:t>et.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/>
              <a:t>Tavoitteiden on toteuttava hyvinvointialuestrategiaa.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/>
              <a:t>Talousarvion yhteydessä hyväksytään myös taloussuunnitelma kolmeksi tai useammaksi vuodeksi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594789-BE1F-4C26-8541-ADAD5C64E37E}"/>
              </a:ext>
            </a:extLst>
          </p:cNvPr>
          <p:cNvSpPr txBox="1"/>
          <p:nvPr/>
        </p:nvSpPr>
        <p:spPr>
          <a:xfrm>
            <a:off x="6215760" y="4037758"/>
            <a:ext cx="5794729" cy="8079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>
                <a:solidFill>
                  <a:prstClr val="black"/>
                </a:solidFill>
                <a:cs typeface="+mn-cs"/>
              </a:rPr>
              <a:t>Hyvinvointialueen on </a:t>
            </a: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aadittava vuosittain investointisuunnitelma, joka </a:t>
            </a:r>
            <a:r>
              <a:rPr lang="fi-FI" sz="1100" dirty="0">
                <a:solidFill>
                  <a:prstClr val="black"/>
                </a:solidFill>
              </a:rPr>
              <a:t>sisältää tiedot investoinneista ja investointia vastaavista sopimuksista. (ministeriöt, hyväksymismenettely)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>
                <a:solidFill>
                  <a:prstClr val="black"/>
                </a:solidFill>
              </a:rPr>
              <a:t>Lisäksi tulee sisältää tiedot hyvinvointialueen toimitilojen ja kiinteistöjen sekä muiden pitkävaikutteisten hyödykkeiden suunnitelluista luovutuksista.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CB9A1F7-421F-4818-917C-C20447A5D87B}"/>
              </a:ext>
            </a:extLst>
          </p:cNvPr>
          <p:cNvSpPr/>
          <p:nvPr/>
        </p:nvSpPr>
        <p:spPr bwMode="gray">
          <a:xfrm>
            <a:off x="589446" y="5090415"/>
            <a:ext cx="5330089" cy="238075"/>
          </a:xfrm>
          <a:prstGeom prst="rect">
            <a:avLst/>
          </a:prstGeom>
          <a:solidFill>
            <a:srgbClr val="CCCCFF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88900" rIns="36000" bIns="88900" rtlCol="0" anchor="ctr"/>
          <a:lstStyle/>
          <a:p>
            <a:pPr marR="0" lvl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i-FI" sz="1200" b="1">
                <a:latin typeface="+mj-lt"/>
              </a:rPr>
              <a:t>Hyvinvoinnin ja terveyden edistäminen hyvinvointialueella</a:t>
            </a:r>
            <a:endParaRPr kumimoji="0" lang="fi-FI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B5DB5B9-A18B-4030-9868-03D46155C9A3}"/>
              </a:ext>
            </a:extLst>
          </p:cNvPr>
          <p:cNvSpPr txBox="1"/>
          <p:nvPr/>
        </p:nvSpPr>
        <p:spPr>
          <a:xfrm>
            <a:off x="589445" y="5324097"/>
            <a:ext cx="5330089" cy="8079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>
                <a:solidFill>
                  <a:prstClr val="black"/>
                </a:solidFill>
              </a:rPr>
              <a:t>Hyvinvointialueen on strategisessa suunnittelussaan asetettava hyvinvoinnin ja terveyden edistämiselle tavoitteet ja määriteltävä tavoitteita tukevat toimenpiteet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 err="1">
                <a:solidFill>
                  <a:prstClr val="black"/>
                </a:solidFill>
              </a:rPr>
              <a:t>Valtuustokausittan</a:t>
            </a:r>
            <a:r>
              <a:rPr lang="fi-FI" sz="1100" dirty="0">
                <a:solidFill>
                  <a:prstClr val="black"/>
                </a:solidFill>
              </a:rPr>
              <a:t> alueellinen hyvinvointikertomus ja -suunnitelma; vuosittainen raportointi alueen </a:t>
            </a:r>
            <a:r>
              <a:rPr lang="fi-FI" sz="1100" dirty="0" err="1">
                <a:solidFill>
                  <a:prstClr val="black"/>
                </a:solidFill>
              </a:rPr>
              <a:t>hyte</a:t>
            </a:r>
            <a:r>
              <a:rPr lang="fi-FI" sz="1100" dirty="0">
                <a:solidFill>
                  <a:prstClr val="black"/>
                </a:solidFill>
              </a:rPr>
              <a:t>-tilanteesta</a:t>
            </a:r>
            <a:endParaRPr lang="fi-FI" sz="1100" dirty="0">
              <a:solidFill>
                <a:srgbClr val="FF0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B1B86E-14BB-4A1A-88D8-2642632140A6}"/>
              </a:ext>
            </a:extLst>
          </p:cNvPr>
          <p:cNvSpPr/>
          <p:nvPr/>
        </p:nvSpPr>
        <p:spPr bwMode="gray">
          <a:xfrm>
            <a:off x="6196163" y="5090415"/>
            <a:ext cx="5330089" cy="238075"/>
          </a:xfrm>
          <a:prstGeom prst="rect">
            <a:avLst/>
          </a:prstGeom>
          <a:solidFill>
            <a:srgbClr val="CC99FF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88900" rIns="36000" bIns="88900" rtlCol="0" anchor="ctr"/>
          <a:lstStyle/>
          <a:p>
            <a:pPr algn="ctr">
              <a:lnSpc>
                <a:spcPct val="106000"/>
              </a:lnSpc>
            </a:pPr>
            <a:r>
              <a:rPr lang="fi-FI" sz="1200" b="1">
                <a:latin typeface="+mj-lt"/>
              </a:rPr>
              <a:t>Hallintosääntö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4E78F5-2331-4804-A333-4DCC2360C06E}"/>
              </a:ext>
            </a:extLst>
          </p:cNvPr>
          <p:cNvSpPr txBox="1"/>
          <p:nvPr/>
        </p:nvSpPr>
        <p:spPr>
          <a:xfrm>
            <a:off x="6198166" y="5290956"/>
            <a:ext cx="5330089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/>
              <a:t>Jokaisella hyvinvointialueella on oltava hallintosääntö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i-FI" sz="1100" dirty="0"/>
              <a:t>Hallintosääntö on yksi keskeinen hallinnon ja toiminnan ohjausväline, määrittää toimivallan jaon</a:t>
            </a:r>
          </a:p>
          <a:p>
            <a:pPr>
              <a:spcAft>
                <a:spcPts val="300"/>
              </a:spcAft>
            </a:pPr>
            <a:endParaRPr lang="fi-FI" sz="1100" dirty="0">
              <a:solidFill>
                <a:srgbClr val="FF0000"/>
              </a:solidFill>
            </a:endParaRPr>
          </a:p>
        </p:txBody>
      </p:sp>
      <p:sp>
        <p:nvSpPr>
          <p:cNvPr id="21" name="Date Placeholder 1">
            <a:extLst>
              <a:ext uri="{FF2B5EF4-FFF2-40B4-BE49-F238E27FC236}">
                <a16:creationId xmlns:a16="http://schemas.microsoft.com/office/drawing/2014/main" id="{8EDC8249-3039-4D2F-B0BF-2EB6F6021B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D4052BFA-D1B1-4F10-9C2D-643307B963F0}" type="datetime1">
              <a:rPr lang="fi-FI" smtClean="0"/>
              <a:t>8.3.2022</a:t>
            </a:fld>
            <a:endParaRPr lang="fi-FI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A874099-37CC-4043-83A8-9630E76B6822}"/>
              </a:ext>
            </a:extLst>
          </p:cNvPr>
          <p:cNvSpPr/>
          <p:nvPr/>
        </p:nvSpPr>
        <p:spPr>
          <a:xfrm>
            <a:off x="4289842" y="3807466"/>
            <a:ext cx="1629692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kumimoji="0" lang="fi-FI" sz="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aki </a:t>
            </a:r>
            <a:r>
              <a:rPr lang="fi-FI" sz="800" i="1">
                <a:solidFill>
                  <a:prstClr val="black"/>
                </a:solidFill>
              </a:rPr>
              <a:t>hyvinvointialueesta </a:t>
            </a:r>
            <a:r>
              <a:rPr lang="fi-FI" sz="800" i="1">
                <a:solidFill>
                  <a:prstClr val="black"/>
                </a:solidFill>
                <a:cs typeface="Times New Roman" panose="02020603050405020304" pitchFamily="18" charset="0"/>
              </a:rPr>
              <a:t>§115</a:t>
            </a:r>
            <a:endParaRPr lang="fi-FI" sz="800" i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63F1571-E70C-4815-91AF-C7EC7052F476}"/>
              </a:ext>
            </a:extLst>
          </p:cNvPr>
          <p:cNvSpPr/>
          <p:nvPr/>
        </p:nvSpPr>
        <p:spPr>
          <a:xfrm>
            <a:off x="9833399" y="3802916"/>
            <a:ext cx="1629692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kumimoji="0" lang="fi-FI" sz="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aki </a:t>
            </a:r>
            <a:r>
              <a:rPr lang="fi-FI" sz="800" i="1">
                <a:solidFill>
                  <a:prstClr val="black"/>
                </a:solidFill>
              </a:rPr>
              <a:t>hyvinvointialueesta </a:t>
            </a:r>
            <a:r>
              <a:rPr lang="fi-FI" sz="800" i="1">
                <a:solidFill>
                  <a:prstClr val="black"/>
                </a:solidFill>
                <a:cs typeface="Times New Roman" panose="02020603050405020304" pitchFamily="18" charset="0"/>
              </a:rPr>
              <a:t>§16</a:t>
            </a:r>
            <a:endParaRPr lang="fi-FI" sz="800" i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EE6315F-7D93-4B55-AF72-673CC766FF06}"/>
              </a:ext>
            </a:extLst>
          </p:cNvPr>
          <p:cNvSpPr/>
          <p:nvPr/>
        </p:nvSpPr>
        <p:spPr>
          <a:xfrm>
            <a:off x="4185868" y="2240324"/>
            <a:ext cx="1629693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/>
            <a:r>
              <a:rPr lang="fi-FI" sz="800" i="1">
                <a:solidFill>
                  <a:prstClr val="black"/>
                </a:solidFill>
              </a:rPr>
              <a:t>Laki sote-järjestämisestä </a:t>
            </a:r>
            <a:r>
              <a:rPr lang="fi-FI" sz="800" i="1">
                <a:solidFill>
                  <a:prstClr val="black"/>
                </a:solidFill>
                <a:cs typeface="Times New Roman" panose="02020603050405020304" pitchFamily="18" charset="0"/>
              </a:rPr>
              <a:t>§11</a:t>
            </a:r>
            <a:endParaRPr lang="fi-FI" sz="800" i="1">
              <a:solidFill>
                <a:prstClr val="black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C4C202E-32CE-4232-9BC9-CEAA7DF90822}"/>
              </a:ext>
            </a:extLst>
          </p:cNvPr>
          <p:cNvSpPr/>
          <p:nvPr/>
        </p:nvSpPr>
        <p:spPr>
          <a:xfrm>
            <a:off x="9706051" y="1209793"/>
            <a:ext cx="1629692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kumimoji="0" lang="fi-FI" sz="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aki </a:t>
            </a:r>
            <a:r>
              <a:rPr lang="fi-FI" sz="800" i="1">
                <a:solidFill>
                  <a:prstClr val="black"/>
                </a:solidFill>
              </a:rPr>
              <a:t>hyvinvointialueesta </a:t>
            </a:r>
            <a:r>
              <a:rPr lang="fi-FI" sz="800" i="1">
                <a:solidFill>
                  <a:prstClr val="black"/>
                </a:solidFill>
                <a:cs typeface="Times New Roman" panose="02020603050405020304" pitchFamily="18" charset="0"/>
              </a:rPr>
              <a:t>§41</a:t>
            </a:r>
            <a:endParaRPr lang="fi-FI" sz="800" i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E5FB128-93A9-49D5-991F-194183254A49}"/>
              </a:ext>
            </a:extLst>
          </p:cNvPr>
          <p:cNvSpPr/>
          <p:nvPr/>
        </p:nvSpPr>
        <p:spPr>
          <a:xfrm>
            <a:off x="3609801" y="4984522"/>
            <a:ext cx="2366437" cy="87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/>
            <a:r>
              <a:rPr lang="fi-FI" sz="800" i="1">
                <a:solidFill>
                  <a:prstClr val="black"/>
                </a:solidFill>
              </a:rPr>
              <a:t>Laki sosiaali- ja terveydenhuollon järjestämisestä </a:t>
            </a:r>
            <a:r>
              <a:rPr lang="fi-FI" sz="800" i="1">
                <a:solidFill>
                  <a:prstClr val="black"/>
                </a:solidFill>
                <a:cs typeface="Times New Roman" panose="02020603050405020304" pitchFamily="18" charset="0"/>
              </a:rPr>
              <a:t>§7</a:t>
            </a:r>
            <a:endParaRPr lang="fi-FI" sz="800" i="1">
              <a:solidFill>
                <a:prstClr val="black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FD22025-3041-45BD-8425-CF60246A4231}"/>
              </a:ext>
            </a:extLst>
          </p:cNvPr>
          <p:cNvSpPr/>
          <p:nvPr/>
        </p:nvSpPr>
        <p:spPr>
          <a:xfrm>
            <a:off x="9944187" y="2214327"/>
            <a:ext cx="1518904" cy="158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/>
            <a:r>
              <a:rPr lang="fi-FI" sz="800" i="1">
                <a:solidFill>
                  <a:prstClr val="black"/>
                </a:solidFill>
              </a:rPr>
              <a:t>Laki </a:t>
            </a:r>
            <a:r>
              <a:rPr lang="fi-FI" sz="800" i="1" err="1">
                <a:solidFill>
                  <a:prstClr val="black"/>
                </a:solidFill>
              </a:rPr>
              <a:t>pela</a:t>
            </a:r>
            <a:r>
              <a:rPr lang="fi-FI" sz="800" i="1">
                <a:solidFill>
                  <a:prstClr val="black"/>
                </a:solidFill>
              </a:rPr>
              <a:t>-järjestämisestä </a:t>
            </a:r>
            <a:r>
              <a:rPr lang="fi-FI" sz="800" i="1">
                <a:solidFill>
                  <a:prstClr val="black"/>
                </a:solidFill>
                <a:cs typeface="Times New Roman" panose="02020603050405020304" pitchFamily="18" charset="0"/>
              </a:rPr>
              <a:t>§6</a:t>
            </a:r>
            <a:endParaRPr lang="fi-FI" sz="800" i="1">
              <a:solidFill>
                <a:prstClr val="black"/>
              </a:solidFill>
            </a:endParaRPr>
          </a:p>
        </p:txBody>
      </p:sp>
      <p:sp>
        <p:nvSpPr>
          <p:cNvPr id="30" name="Rectangle 23">
            <a:extLst>
              <a:ext uri="{FF2B5EF4-FFF2-40B4-BE49-F238E27FC236}">
                <a16:creationId xmlns:a16="http://schemas.microsoft.com/office/drawing/2014/main" id="{18D9CDEE-D95E-4D01-A914-149C8FD250BD}"/>
              </a:ext>
            </a:extLst>
          </p:cNvPr>
          <p:cNvSpPr/>
          <p:nvPr/>
        </p:nvSpPr>
        <p:spPr>
          <a:xfrm>
            <a:off x="9706051" y="5109261"/>
            <a:ext cx="1629692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kumimoji="0" lang="fi-FI" sz="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aki </a:t>
            </a:r>
            <a:r>
              <a:rPr lang="fi-FI" sz="800" i="1">
                <a:solidFill>
                  <a:prstClr val="black"/>
                </a:solidFill>
              </a:rPr>
              <a:t>hyvinvointialueesta </a:t>
            </a:r>
            <a:r>
              <a:rPr lang="fi-FI" sz="800" i="1">
                <a:solidFill>
                  <a:prstClr val="black"/>
                </a:solidFill>
                <a:cs typeface="Times New Roman" panose="02020603050405020304" pitchFamily="18" charset="0"/>
              </a:rPr>
              <a:t>§95</a:t>
            </a:r>
            <a:endParaRPr lang="fi-FI" sz="800" i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8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Wave 11">
            <a:extLst>
              <a:ext uri="{FF2B5EF4-FFF2-40B4-BE49-F238E27FC236}">
                <a16:creationId xmlns:a16="http://schemas.microsoft.com/office/drawing/2014/main" id="{2D03EF04-F17B-48CB-95D7-674A2E4D8FEB}"/>
              </a:ext>
            </a:extLst>
          </p:cNvPr>
          <p:cNvSpPr/>
          <p:nvPr/>
        </p:nvSpPr>
        <p:spPr>
          <a:xfrm>
            <a:off x="0" y="3296128"/>
            <a:ext cx="3611086" cy="1108176"/>
          </a:xfrm>
          <a:prstGeom prst="wav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2" name="Wave 31">
            <a:extLst>
              <a:ext uri="{FF2B5EF4-FFF2-40B4-BE49-F238E27FC236}">
                <a16:creationId xmlns:a16="http://schemas.microsoft.com/office/drawing/2014/main" id="{4FA695B4-3653-4763-AB8D-F65F02128051}"/>
              </a:ext>
            </a:extLst>
          </p:cNvPr>
          <p:cNvSpPr/>
          <p:nvPr/>
        </p:nvSpPr>
        <p:spPr>
          <a:xfrm rot="10800000">
            <a:off x="3611086" y="3296128"/>
            <a:ext cx="3611086" cy="1108176"/>
          </a:xfrm>
          <a:prstGeom prst="wav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3" name="Wave 32">
            <a:extLst>
              <a:ext uri="{FF2B5EF4-FFF2-40B4-BE49-F238E27FC236}">
                <a16:creationId xmlns:a16="http://schemas.microsoft.com/office/drawing/2014/main" id="{2F61AA23-6779-488E-B249-DEC2F5AA250B}"/>
              </a:ext>
            </a:extLst>
          </p:cNvPr>
          <p:cNvSpPr/>
          <p:nvPr/>
        </p:nvSpPr>
        <p:spPr>
          <a:xfrm>
            <a:off x="7239046" y="3311154"/>
            <a:ext cx="3611086" cy="1108176"/>
          </a:xfrm>
          <a:prstGeom prst="wav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32FAC3-7D5E-4824-90E9-B6E396D7C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052BFA-D1B1-4F10-9C2D-643307B963F0}" type="datetime1">
              <a:rPr lang="fi-FI" smtClean="0"/>
              <a:t>8.3.2022</a:t>
            </a:fld>
            <a:endParaRPr lang="fi-FI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EE6499-3B40-4B7F-B715-E19BBE3DB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3</a:t>
            </a:fld>
            <a:endParaRPr lang="fi-F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870FC9-52E6-4611-AD16-79EBA27E12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i-FI" sz="2400">
                <a:solidFill>
                  <a:srgbClr val="7030A0"/>
                </a:solidFill>
              </a:rPr>
              <a:t>Hyvinvointialuestrategiaan vaikuttavia taustatekijöitä</a:t>
            </a:r>
          </a:p>
        </p:txBody>
      </p:sp>
      <p:sp>
        <p:nvSpPr>
          <p:cNvPr id="37" name="Hexagon 10">
            <a:extLst>
              <a:ext uri="{FF2B5EF4-FFF2-40B4-BE49-F238E27FC236}">
                <a16:creationId xmlns:a16="http://schemas.microsoft.com/office/drawing/2014/main" id="{262F07E5-1BCA-455E-B3D1-AF8ECC637888}"/>
              </a:ext>
            </a:extLst>
          </p:cNvPr>
          <p:cNvSpPr/>
          <p:nvPr/>
        </p:nvSpPr>
        <p:spPr bwMode="gray">
          <a:xfrm rot="5400000">
            <a:off x="981589" y="2856702"/>
            <a:ext cx="1714260" cy="1488201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algn="ctr">
            <a:solidFill>
              <a:schemeClr val="accent1"/>
            </a:solidFill>
            <a:miter lim="800000"/>
            <a:headEnd type="triangle" w="lg" len="lg"/>
            <a:tailEnd type="oval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Hexagon 10">
            <a:extLst>
              <a:ext uri="{FF2B5EF4-FFF2-40B4-BE49-F238E27FC236}">
                <a16:creationId xmlns:a16="http://schemas.microsoft.com/office/drawing/2014/main" id="{4CFC243D-6136-4533-A862-B6DD8963DADD}"/>
              </a:ext>
            </a:extLst>
          </p:cNvPr>
          <p:cNvSpPr/>
          <p:nvPr/>
        </p:nvSpPr>
        <p:spPr bwMode="gray">
          <a:xfrm rot="5400000" flipH="1">
            <a:off x="3446267" y="3477588"/>
            <a:ext cx="1714260" cy="1488201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algn="ctr">
            <a:solidFill>
              <a:schemeClr val="accent2"/>
            </a:solidFill>
            <a:miter lim="800000"/>
            <a:headEnd type="triangle" w="lg" len="lg"/>
            <a:tailEnd type="oval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9" name="Hexagon 10">
            <a:extLst>
              <a:ext uri="{FF2B5EF4-FFF2-40B4-BE49-F238E27FC236}">
                <a16:creationId xmlns:a16="http://schemas.microsoft.com/office/drawing/2014/main" id="{0B42E589-D15D-49E0-9470-11B34B35F8C3}"/>
              </a:ext>
            </a:extLst>
          </p:cNvPr>
          <p:cNvSpPr/>
          <p:nvPr/>
        </p:nvSpPr>
        <p:spPr bwMode="gray">
          <a:xfrm rot="5400000">
            <a:off x="6121163" y="2842195"/>
            <a:ext cx="1714260" cy="1488201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algn="ctr">
            <a:solidFill>
              <a:schemeClr val="accent3"/>
            </a:solidFill>
            <a:miter lim="800000"/>
            <a:headEnd type="triangle" w="lg" len="lg"/>
            <a:tailEnd type="oval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D68EDD12-2013-4253-9C99-E493012DAC94}"/>
              </a:ext>
            </a:extLst>
          </p:cNvPr>
          <p:cNvSpPr/>
          <p:nvPr/>
        </p:nvSpPr>
        <p:spPr bwMode="gray">
          <a:xfrm rot="16200000">
            <a:off x="1109621" y="2983274"/>
            <a:ext cx="1446375" cy="1246875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4EF93A55-8EFE-410E-9A72-EA83A9FF3474}"/>
              </a:ext>
            </a:extLst>
          </p:cNvPr>
          <p:cNvSpPr/>
          <p:nvPr/>
        </p:nvSpPr>
        <p:spPr bwMode="gray">
          <a:xfrm rot="16200000">
            <a:off x="3580209" y="3598251"/>
            <a:ext cx="1446375" cy="124687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4B386176-3DCF-4414-A56E-9D9811ED6E2B}"/>
              </a:ext>
            </a:extLst>
          </p:cNvPr>
          <p:cNvSpPr/>
          <p:nvPr/>
        </p:nvSpPr>
        <p:spPr bwMode="gray">
          <a:xfrm rot="16200000">
            <a:off x="6261943" y="2932499"/>
            <a:ext cx="1446375" cy="1246875"/>
          </a:xfrm>
          <a:prstGeom prst="hexagon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9209BD8-EAEE-455C-A8B3-5CA1655E99E7}"/>
              </a:ext>
            </a:extLst>
          </p:cNvPr>
          <p:cNvSpPr/>
          <p:nvPr/>
        </p:nvSpPr>
        <p:spPr>
          <a:xfrm>
            <a:off x="407148" y="1815030"/>
            <a:ext cx="3181548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fi-FI" sz="1400" b="1">
                <a:solidFill>
                  <a:prstClr val="black"/>
                </a:solidFill>
              </a:rPr>
              <a:t>LAINSÄÄDÄNTÖ</a:t>
            </a:r>
          </a:p>
          <a:p>
            <a:pPr lvl="0" algn="ctr"/>
            <a:r>
              <a:rPr lang="fi-FI" sz="1100">
                <a:solidFill>
                  <a:prstClr val="black"/>
                </a:solidFill>
              </a:rPr>
              <a:t>Hyvinvointialueen vastuut ja palvelut  säädetty lailla, mikä osaltaan asettaa strategialle reunaehdot. Rahoitus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87E88CD-8834-4227-A6D3-01FDACA2308C}"/>
              </a:ext>
            </a:extLst>
          </p:cNvPr>
          <p:cNvSpPr/>
          <p:nvPr/>
        </p:nvSpPr>
        <p:spPr>
          <a:xfrm>
            <a:off x="4877158" y="1498741"/>
            <a:ext cx="4215944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fi-FI" sz="1400" b="1">
                <a:solidFill>
                  <a:prstClr val="black"/>
                </a:solidFill>
              </a:rPr>
              <a:t>VALTAKUNNALLISET TAVOITTEE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turvata yhdenvertaiset ja laadukkaat palvelut 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parantaa palvelujen saatavuutta ja saavutettavuutta,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kaventaa hyvinvointi- ja terveyseroja,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turvata ammattitaitoisen työvoiman saanti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vastata yhteiskunnallisten muutosten tuomiin haasteisiin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hillitä kustannusten kasvua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i-FI" sz="1100">
                <a:solidFill>
                  <a:prstClr val="black"/>
                </a:solidFill>
              </a:rPr>
              <a:t>parantaa turvallisuutta</a:t>
            </a:r>
            <a:endParaRPr lang="fi-FI" sz="1400" b="1">
              <a:solidFill>
                <a:prstClr val="black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7733E5C-F0A4-441B-A426-1C71B307204D}"/>
              </a:ext>
            </a:extLst>
          </p:cNvPr>
          <p:cNvSpPr/>
          <p:nvPr/>
        </p:nvSpPr>
        <p:spPr>
          <a:xfrm>
            <a:off x="2670958" y="5261271"/>
            <a:ext cx="3259339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fi-FI" sz="1400" b="1">
                <a:solidFill>
                  <a:prstClr val="black"/>
                </a:solidFill>
              </a:rPr>
              <a:t>NYKYISET STRATEGISET LINJAUKSET</a:t>
            </a:r>
          </a:p>
          <a:p>
            <a:pPr lvl="0" algn="ctr"/>
            <a:r>
              <a:rPr lang="fi-FI" sz="1100">
                <a:solidFill>
                  <a:prstClr val="black"/>
                </a:solidFill>
              </a:rPr>
              <a:t>Vantaan ja Keravan kaupunkien, sote-toimialojen sekä pelastustoimen strategiset linjaukset ja palvelutuotannon tavoitteet.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ABBBB29-D0CD-4D3D-9506-1E1CCB737BEC}"/>
              </a:ext>
            </a:extLst>
          </p:cNvPr>
          <p:cNvSpPr/>
          <p:nvPr/>
        </p:nvSpPr>
        <p:spPr>
          <a:xfrm>
            <a:off x="7186395" y="5471318"/>
            <a:ext cx="4896751" cy="769441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fi-FI" sz="1100"/>
              <a:t>-&gt;  Uuden organisaation strategiatyössä huomioidaan valmistelun reunaehdot, aikataulut ja turvallisen siirtymän (palvelujen jatkuvuus, työhyvinvointi) merkitys</a:t>
            </a:r>
          </a:p>
          <a:p>
            <a:pPr lvl="0"/>
            <a:r>
              <a:rPr lang="fi-FI" sz="1100"/>
              <a:t>-&gt; Työssä tunnistetaan myös muutoshetkessä avautuva mahdollisuus toiminnan uudistamiseen sekä määritellään suunta, johon hyvinvointialuetta halutaan ohjata</a:t>
            </a:r>
          </a:p>
        </p:txBody>
      </p:sp>
      <p:sp>
        <p:nvSpPr>
          <p:cNvPr id="22" name="Freeform 904">
            <a:extLst>
              <a:ext uri="{FF2B5EF4-FFF2-40B4-BE49-F238E27FC236}">
                <a16:creationId xmlns:a16="http://schemas.microsoft.com/office/drawing/2014/main" id="{1D4A2E92-BD2F-44E1-BA3B-438824CA8F52}"/>
              </a:ext>
            </a:extLst>
          </p:cNvPr>
          <p:cNvSpPr>
            <a:spLocks noEditPoints="1"/>
          </p:cNvSpPr>
          <p:nvPr/>
        </p:nvSpPr>
        <p:spPr bwMode="auto">
          <a:xfrm>
            <a:off x="4039248" y="3971723"/>
            <a:ext cx="655221" cy="554578"/>
          </a:xfrm>
          <a:custGeom>
            <a:avLst/>
            <a:gdLst>
              <a:gd name="T0" fmla="*/ 296 w 300"/>
              <a:gd name="T1" fmla="*/ 25 h 246"/>
              <a:gd name="T2" fmla="*/ 281 w 300"/>
              <a:gd name="T3" fmla="*/ 24 h 246"/>
              <a:gd name="T4" fmla="*/ 245 w 300"/>
              <a:gd name="T5" fmla="*/ 55 h 246"/>
              <a:gd name="T6" fmla="*/ 245 w 300"/>
              <a:gd name="T7" fmla="*/ 11 h 246"/>
              <a:gd name="T8" fmla="*/ 235 w 300"/>
              <a:gd name="T9" fmla="*/ 0 h 246"/>
              <a:gd name="T10" fmla="*/ 11 w 300"/>
              <a:gd name="T11" fmla="*/ 0 h 246"/>
              <a:gd name="T12" fmla="*/ 0 w 300"/>
              <a:gd name="T13" fmla="*/ 11 h 246"/>
              <a:gd name="T14" fmla="*/ 0 w 300"/>
              <a:gd name="T15" fmla="*/ 235 h 246"/>
              <a:gd name="T16" fmla="*/ 11 w 300"/>
              <a:gd name="T17" fmla="*/ 246 h 246"/>
              <a:gd name="T18" fmla="*/ 235 w 300"/>
              <a:gd name="T19" fmla="*/ 246 h 246"/>
              <a:gd name="T20" fmla="*/ 245 w 300"/>
              <a:gd name="T21" fmla="*/ 235 h 246"/>
              <a:gd name="T22" fmla="*/ 245 w 300"/>
              <a:gd name="T23" fmla="*/ 84 h 246"/>
              <a:gd name="T24" fmla="*/ 295 w 300"/>
              <a:gd name="T25" fmla="*/ 40 h 246"/>
              <a:gd name="T26" fmla="*/ 296 w 300"/>
              <a:gd name="T27" fmla="*/ 25 h 246"/>
              <a:gd name="T28" fmla="*/ 224 w 300"/>
              <a:gd name="T29" fmla="*/ 224 h 246"/>
              <a:gd name="T30" fmla="*/ 21 w 300"/>
              <a:gd name="T31" fmla="*/ 224 h 246"/>
              <a:gd name="T32" fmla="*/ 21 w 300"/>
              <a:gd name="T33" fmla="*/ 22 h 246"/>
              <a:gd name="T34" fmla="*/ 224 w 300"/>
              <a:gd name="T35" fmla="*/ 22 h 246"/>
              <a:gd name="T36" fmla="*/ 224 w 300"/>
              <a:gd name="T37" fmla="*/ 74 h 246"/>
              <a:gd name="T38" fmla="*/ 119 w 300"/>
              <a:gd name="T39" fmla="*/ 166 h 246"/>
              <a:gd name="T40" fmla="*/ 72 w 300"/>
              <a:gd name="T41" fmla="*/ 111 h 246"/>
              <a:gd name="T42" fmla="*/ 57 w 300"/>
              <a:gd name="T43" fmla="*/ 109 h 246"/>
              <a:gd name="T44" fmla="*/ 56 w 300"/>
              <a:gd name="T45" fmla="*/ 125 h 246"/>
              <a:gd name="T46" fmla="*/ 109 w 300"/>
              <a:gd name="T47" fmla="*/ 189 h 246"/>
              <a:gd name="T48" fmla="*/ 109 w 300"/>
              <a:gd name="T49" fmla="*/ 189 h 246"/>
              <a:gd name="T50" fmla="*/ 117 w 300"/>
              <a:gd name="T51" fmla="*/ 192 h 246"/>
              <a:gd name="T52" fmla="*/ 124 w 300"/>
              <a:gd name="T53" fmla="*/ 190 h 246"/>
              <a:gd name="T54" fmla="*/ 224 w 300"/>
              <a:gd name="T55" fmla="*/ 103 h 246"/>
              <a:gd name="T56" fmla="*/ 224 w 300"/>
              <a:gd name="T57" fmla="*/ 224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00" h="246">
                <a:moveTo>
                  <a:pt x="296" y="25"/>
                </a:moveTo>
                <a:cubicBezTo>
                  <a:pt x="292" y="21"/>
                  <a:pt x="285" y="20"/>
                  <a:pt x="281" y="24"/>
                </a:cubicBezTo>
                <a:cubicBezTo>
                  <a:pt x="245" y="55"/>
                  <a:pt x="245" y="55"/>
                  <a:pt x="245" y="55"/>
                </a:cubicBezTo>
                <a:cubicBezTo>
                  <a:pt x="245" y="11"/>
                  <a:pt x="245" y="11"/>
                  <a:pt x="245" y="11"/>
                </a:cubicBezTo>
                <a:cubicBezTo>
                  <a:pt x="245" y="5"/>
                  <a:pt x="241" y="0"/>
                  <a:pt x="235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235"/>
                  <a:pt x="0" y="235"/>
                  <a:pt x="0" y="235"/>
                </a:cubicBezTo>
                <a:cubicBezTo>
                  <a:pt x="0" y="241"/>
                  <a:pt x="5" y="246"/>
                  <a:pt x="11" y="246"/>
                </a:cubicBezTo>
                <a:cubicBezTo>
                  <a:pt x="235" y="246"/>
                  <a:pt x="235" y="246"/>
                  <a:pt x="235" y="246"/>
                </a:cubicBezTo>
                <a:cubicBezTo>
                  <a:pt x="241" y="246"/>
                  <a:pt x="245" y="241"/>
                  <a:pt x="245" y="235"/>
                </a:cubicBezTo>
                <a:cubicBezTo>
                  <a:pt x="245" y="84"/>
                  <a:pt x="245" y="84"/>
                  <a:pt x="245" y="84"/>
                </a:cubicBezTo>
                <a:cubicBezTo>
                  <a:pt x="295" y="40"/>
                  <a:pt x="295" y="40"/>
                  <a:pt x="295" y="40"/>
                </a:cubicBezTo>
                <a:cubicBezTo>
                  <a:pt x="299" y="36"/>
                  <a:pt x="300" y="30"/>
                  <a:pt x="296" y="25"/>
                </a:cubicBezTo>
                <a:close/>
                <a:moveTo>
                  <a:pt x="224" y="224"/>
                </a:moveTo>
                <a:cubicBezTo>
                  <a:pt x="21" y="224"/>
                  <a:pt x="21" y="224"/>
                  <a:pt x="21" y="224"/>
                </a:cubicBezTo>
                <a:cubicBezTo>
                  <a:pt x="21" y="22"/>
                  <a:pt x="21" y="22"/>
                  <a:pt x="21" y="22"/>
                </a:cubicBezTo>
                <a:cubicBezTo>
                  <a:pt x="224" y="22"/>
                  <a:pt x="224" y="22"/>
                  <a:pt x="224" y="22"/>
                </a:cubicBezTo>
                <a:cubicBezTo>
                  <a:pt x="224" y="74"/>
                  <a:pt x="224" y="74"/>
                  <a:pt x="224" y="74"/>
                </a:cubicBezTo>
                <a:cubicBezTo>
                  <a:pt x="119" y="166"/>
                  <a:pt x="119" y="166"/>
                  <a:pt x="119" y="166"/>
                </a:cubicBezTo>
                <a:cubicBezTo>
                  <a:pt x="72" y="111"/>
                  <a:pt x="72" y="111"/>
                  <a:pt x="72" y="111"/>
                </a:cubicBezTo>
                <a:cubicBezTo>
                  <a:pt x="68" y="106"/>
                  <a:pt x="62" y="106"/>
                  <a:pt x="57" y="109"/>
                </a:cubicBezTo>
                <a:cubicBezTo>
                  <a:pt x="53" y="113"/>
                  <a:pt x="52" y="120"/>
                  <a:pt x="56" y="125"/>
                </a:cubicBezTo>
                <a:cubicBezTo>
                  <a:pt x="109" y="189"/>
                  <a:pt x="109" y="189"/>
                  <a:pt x="109" y="189"/>
                </a:cubicBezTo>
                <a:cubicBezTo>
                  <a:pt x="109" y="189"/>
                  <a:pt x="109" y="189"/>
                  <a:pt x="109" y="189"/>
                </a:cubicBezTo>
                <a:cubicBezTo>
                  <a:pt x="111" y="191"/>
                  <a:pt x="114" y="192"/>
                  <a:pt x="117" y="192"/>
                </a:cubicBezTo>
                <a:cubicBezTo>
                  <a:pt x="120" y="192"/>
                  <a:pt x="122" y="191"/>
                  <a:pt x="124" y="190"/>
                </a:cubicBezTo>
                <a:cubicBezTo>
                  <a:pt x="224" y="103"/>
                  <a:pt x="224" y="103"/>
                  <a:pt x="224" y="103"/>
                </a:cubicBezTo>
                <a:lnTo>
                  <a:pt x="224" y="224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solidFill>
              <a:srgbClr val="DDEFE8"/>
            </a:solidFill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7" name="Hexagon 58">
            <a:extLst>
              <a:ext uri="{FF2B5EF4-FFF2-40B4-BE49-F238E27FC236}">
                <a16:creationId xmlns:a16="http://schemas.microsoft.com/office/drawing/2014/main" id="{88970925-935C-4E2A-8AD0-74B57CF41BC8}"/>
              </a:ext>
            </a:extLst>
          </p:cNvPr>
          <p:cNvSpPr/>
          <p:nvPr/>
        </p:nvSpPr>
        <p:spPr bwMode="gray">
          <a:xfrm rot="16200000">
            <a:off x="1650129" y="3701467"/>
            <a:ext cx="377180" cy="1508719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8" name="Hexagon 58">
            <a:extLst>
              <a:ext uri="{FF2B5EF4-FFF2-40B4-BE49-F238E27FC236}">
                <a16:creationId xmlns:a16="http://schemas.microsoft.com/office/drawing/2014/main" id="{587A5B42-4EF6-450D-8954-128C16AFE090}"/>
              </a:ext>
            </a:extLst>
          </p:cNvPr>
          <p:cNvSpPr/>
          <p:nvPr/>
        </p:nvSpPr>
        <p:spPr bwMode="gray">
          <a:xfrm rot="16200000">
            <a:off x="6783715" y="3681050"/>
            <a:ext cx="377180" cy="1508719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1" name="Hexagon 58">
            <a:extLst>
              <a:ext uri="{FF2B5EF4-FFF2-40B4-BE49-F238E27FC236}">
                <a16:creationId xmlns:a16="http://schemas.microsoft.com/office/drawing/2014/main" id="{6506042A-9EC7-45B6-B9C9-4F7E8FB54739}"/>
              </a:ext>
            </a:extLst>
          </p:cNvPr>
          <p:cNvSpPr/>
          <p:nvPr/>
        </p:nvSpPr>
        <p:spPr bwMode="gray">
          <a:xfrm rot="5400000" flipV="1">
            <a:off x="4112038" y="2610198"/>
            <a:ext cx="377180" cy="1508719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42" name="Group 979">
            <a:extLst>
              <a:ext uri="{FF2B5EF4-FFF2-40B4-BE49-F238E27FC236}">
                <a16:creationId xmlns:a16="http://schemas.microsoft.com/office/drawing/2014/main" id="{52F27D27-3D6D-4260-8B80-1E2F8DAE5B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27707" y="3300711"/>
            <a:ext cx="610203" cy="612000"/>
            <a:chOff x="2032" y="4237"/>
            <a:chExt cx="340" cy="341"/>
          </a:xfrm>
          <a:solidFill>
            <a:schemeClr val="accent1"/>
          </a:solidFill>
        </p:grpSpPr>
        <p:sp>
          <p:nvSpPr>
            <p:cNvPr id="43" name="Freeform 980">
              <a:extLst>
                <a:ext uri="{FF2B5EF4-FFF2-40B4-BE49-F238E27FC236}">
                  <a16:creationId xmlns:a16="http://schemas.microsoft.com/office/drawing/2014/main" id="{4BA72EC1-487E-4AB4-BBDB-15D5BBA8E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" y="423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Freeform 981">
              <a:extLst>
                <a:ext uri="{FF2B5EF4-FFF2-40B4-BE49-F238E27FC236}">
                  <a16:creationId xmlns:a16="http://schemas.microsoft.com/office/drawing/2014/main" id="{87617FB1-97DA-4045-B89B-C98C4D7DC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0" y="447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Freeform 982">
              <a:extLst>
                <a:ext uri="{FF2B5EF4-FFF2-40B4-BE49-F238E27FC236}">
                  <a16:creationId xmlns:a16="http://schemas.microsoft.com/office/drawing/2014/main" id="{8012B7AC-2A52-4E7A-96B6-BE115F8AC2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0" y="4320"/>
              <a:ext cx="164" cy="165"/>
            </a:xfrm>
            <a:custGeom>
              <a:avLst/>
              <a:gdLst>
                <a:gd name="T0" fmla="*/ 244 w 248"/>
                <a:gd name="T1" fmla="*/ 230 h 248"/>
                <a:gd name="T2" fmla="*/ 148 w 248"/>
                <a:gd name="T3" fmla="*/ 132 h 248"/>
                <a:gd name="T4" fmla="*/ 148 w 248"/>
                <a:gd name="T5" fmla="*/ 132 h 248"/>
                <a:gd name="T6" fmla="*/ 185 w 248"/>
                <a:gd name="T7" fmla="*/ 95 h 248"/>
                <a:gd name="T8" fmla="*/ 193 w 248"/>
                <a:gd name="T9" fmla="*/ 98 h 248"/>
                <a:gd name="T10" fmla="*/ 200 w 248"/>
                <a:gd name="T11" fmla="*/ 95 h 248"/>
                <a:gd name="T12" fmla="*/ 200 w 248"/>
                <a:gd name="T13" fmla="*/ 79 h 248"/>
                <a:gd name="T14" fmla="*/ 125 w 248"/>
                <a:gd name="T15" fmla="*/ 4 h 248"/>
                <a:gd name="T16" fmla="*/ 110 w 248"/>
                <a:gd name="T17" fmla="*/ 4 h 248"/>
                <a:gd name="T18" fmla="*/ 110 w 248"/>
                <a:gd name="T19" fmla="*/ 19 h 248"/>
                <a:gd name="T20" fmla="*/ 19 w 248"/>
                <a:gd name="T21" fmla="*/ 110 h 248"/>
                <a:gd name="T22" fmla="*/ 4 w 248"/>
                <a:gd name="T23" fmla="*/ 110 h 248"/>
                <a:gd name="T24" fmla="*/ 4 w 248"/>
                <a:gd name="T25" fmla="*/ 125 h 248"/>
                <a:gd name="T26" fmla="*/ 80 w 248"/>
                <a:gd name="T27" fmla="*/ 200 h 248"/>
                <a:gd name="T28" fmla="*/ 87 w 248"/>
                <a:gd name="T29" fmla="*/ 203 h 248"/>
                <a:gd name="T30" fmla="*/ 95 w 248"/>
                <a:gd name="T31" fmla="*/ 200 h 248"/>
                <a:gd name="T32" fmla="*/ 95 w 248"/>
                <a:gd name="T33" fmla="*/ 185 h 248"/>
                <a:gd name="T34" fmla="*/ 95 w 248"/>
                <a:gd name="T35" fmla="*/ 185 h 248"/>
                <a:gd name="T36" fmla="*/ 132 w 248"/>
                <a:gd name="T37" fmla="*/ 147 h 248"/>
                <a:gd name="T38" fmla="*/ 229 w 248"/>
                <a:gd name="T39" fmla="*/ 245 h 248"/>
                <a:gd name="T40" fmla="*/ 237 w 248"/>
                <a:gd name="T41" fmla="*/ 248 h 248"/>
                <a:gd name="T42" fmla="*/ 244 w 248"/>
                <a:gd name="T43" fmla="*/ 245 h 248"/>
                <a:gd name="T44" fmla="*/ 244 w 248"/>
                <a:gd name="T45" fmla="*/ 230 h 248"/>
                <a:gd name="T46" fmla="*/ 34 w 248"/>
                <a:gd name="T47" fmla="*/ 125 h 248"/>
                <a:gd name="T48" fmla="*/ 125 w 248"/>
                <a:gd name="T49" fmla="*/ 34 h 248"/>
                <a:gd name="T50" fmla="*/ 170 w 248"/>
                <a:gd name="T51" fmla="*/ 79 h 248"/>
                <a:gd name="T52" fmla="*/ 80 w 248"/>
                <a:gd name="T53" fmla="*/ 170 h 248"/>
                <a:gd name="T54" fmla="*/ 34 w 248"/>
                <a:gd name="T55" fmla="*/ 125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8" h="248">
                  <a:moveTo>
                    <a:pt x="244" y="230"/>
                  </a:moveTo>
                  <a:cubicBezTo>
                    <a:pt x="148" y="132"/>
                    <a:pt x="148" y="132"/>
                    <a:pt x="148" y="132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85" y="95"/>
                    <a:pt x="185" y="95"/>
                    <a:pt x="185" y="95"/>
                  </a:cubicBezTo>
                  <a:cubicBezTo>
                    <a:pt x="187" y="97"/>
                    <a:pt x="190" y="98"/>
                    <a:pt x="193" y="98"/>
                  </a:cubicBezTo>
                  <a:cubicBezTo>
                    <a:pt x="196" y="98"/>
                    <a:pt x="198" y="97"/>
                    <a:pt x="200" y="95"/>
                  </a:cubicBezTo>
                  <a:cubicBezTo>
                    <a:pt x="205" y="90"/>
                    <a:pt x="205" y="84"/>
                    <a:pt x="200" y="79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1" y="0"/>
                    <a:pt x="114" y="0"/>
                    <a:pt x="110" y="4"/>
                  </a:cubicBezTo>
                  <a:cubicBezTo>
                    <a:pt x="106" y="8"/>
                    <a:pt x="106" y="15"/>
                    <a:pt x="110" y="19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5" y="105"/>
                    <a:pt x="8" y="105"/>
                    <a:pt x="4" y="110"/>
                  </a:cubicBezTo>
                  <a:cubicBezTo>
                    <a:pt x="0" y="114"/>
                    <a:pt x="0" y="121"/>
                    <a:pt x="4" y="125"/>
                  </a:cubicBezTo>
                  <a:cubicBezTo>
                    <a:pt x="80" y="200"/>
                    <a:pt x="80" y="200"/>
                    <a:pt x="80" y="200"/>
                  </a:cubicBezTo>
                  <a:cubicBezTo>
                    <a:pt x="82" y="202"/>
                    <a:pt x="84" y="203"/>
                    <a:pt x="87" y="203"/>
                  </a:cubicBezTo>
                  <a:cubicBezTo>
                    <a:pt x="90" y="203"/>
                    <a:pt x="93" y="202"/>
                    <a:pt x="95" y="200"/>
                  </a:cubicBezTo>
                  <a:cubicBezTo>
                    <a:pt x="99" y="196"/>
                    <a:pt x="99" y="189"/>
                    <a:pt x="95" y="185"/>
                  </a:cubicBezTo>
                  <a:cubicBezTo>
                    <a:pt x="95" y="185"/>
                    <a:pt x="95" y="185"/>
                    <a:pt x="95" y="185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229" y="245"/>
                    <a:pt x="229" y="245"/>
                    <a:pt x="229" y="245"/>
                  </a:cubicBezTo>
                  <a:cubicBezTo>
                    <a:pt x="231" y="247"/>
                    <a:pt x="234" y="248"/>
                    <a:pt x="237" y="248"/>
                  </a:cubicBezTo>
                  <a:cubicBezTo>
                    <a:pt x="239" y="248"/>
                    <a:pt x="242" y="247"/>
                    <a:pt x="244" y="245"/>
                  </a:cubicBezTo>
                  <a:cubicBezTo>
                    <a:pt x="248" y="241"/>
                    <a:pt x="248" y="234"/>
                    <a:pt x="244" y="230"/>
                  </a:cubicBezTo>
                  <a:close/>
                  <a:moveTo>
                    <a:pt x="34" y="125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80" y="170"/>
                    <a:pt x="80" y="170"/>
                    <a:pt x="80" y="170"/>
                  </a:cubicBezTo>
                  <a:lnTo>
                    <a:pt x="34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C6804DBB-F69C-42DF-B6B4-578D3CE27D7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25554" t="13097" r="25575" b="19154"/>
          <a:stretch/>
        </p:blipFill>
        <p:spPr>
          <a:xfrm>
            <a:off x="6581020" y="3030578"/>
            <a:ext cx="762501" cy="1141601"/>
          </a:xfrm>
          <a:prstGeom prst="rect">
            <a:avLst/>
          </a:prstGeom>
        </p:spPr>
      </p:pic>
      <p:sp>
        <p:nvSpPr>
          <p:cNvPr id="30" name="Hexagon 8">
            <a:extLst>
              <a:ext uri="{FF2B5EF4-FFF2-40B4-BE49-F238E27FC236}">
                <a16:creationId xmlns:a16="http://schemas.microsoft.com/office/drawing/2014/main" id="{D4896790-B107-4115-93CB-934F176576AB}"/>
              </a:ext>
            </a:extLst>
          </p:cNvPr>
          <p:cNvSpPr/>
          <p:nvPr/>
        </p:nvSpPr>
        <p:spPr bwMode="gray">
          <a:xfrm rot="16200000">
            <a:off x="9906892" y="3275717"/>
            <a:ext cx="1446375" cy="1246875"/>
          </a:xfrm>
          <a:prstGeom prst="hexagon">
            <a:avLst/>
          </a:prstGeom>
          <a:solidFill>
            <a:schemeClr val="accent6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5" name="Hexagon 58">
            <a:extLst>
              <a:ext uri="{FF2B5EF4-FFF2-40B4-BE49-F238E27FC236}">
                <a16:creationId xmlns:a16="http://schemas.microsoft.com/office/drawing/2014/main" id="{72C6F9D6-4B43-4825-9E81-EC2042137BE5}"/>
              </a:ext>
            </a:extLst>
          </p:cNvPr>
          <p:cNvSpPr/>
          <p:nvPr/>
        </p:nvSpPr>
        <p:spPr bwMode="gray">
          <a:xfrm rot="16200000" flipV="1">
            <a:off x="10434570" y="3969687"/>
            <a:ext cx="377180" cy="1508719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6" name="Hexagon 10">
            <a:extLst>
              <a:ext uri="{FF2B5EF4-FFF2-40B4-BE49-F238E27FC236}">
                <a16:creationId xmlns:a16="http://schemas.microsoft.com/office/drawing/2014/main" id="{09853AAF-32DD-4267-80C4-FBCE8E0E211C}"/>
              </a:ext>
            </a:extLst>
          </p:cNvPr>
          <p:cNvSpPr/>
          <p:nvPr/>
        </p:nvSpPr>
        <p:spPr bwMode="gray">
          <a:xfrm rot="5400000" flipH="1">
            <a:off x="9756822" y="3147510"/>
            <a:ext cx="1714260" cy="1488201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algn="ctr">
            <a:solidFill>
              <a:srgbClr val="CC99FF"/>
            </a:solidFill>
            <a:miter lim="800000"/>
            <a:headEnd type="triangle" w="lg" len="lg"/>
            <a:tailEnd type="oval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6" name="Kuva 5" descr="Mies ja lapsi ääriviiva">
            <a:extLst>
              <a:ext uri="{FF2B5EF4-FFF2-40B4-BE49-F238E27FC236}">
                <a16:creationId xmlns:a16="http://schemas.microsoft.com/office/drawing/2014/main" id="{1E0686FC-261B-4413-82CC-9169F679DC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05089" y="3579897"/>
            <a:ext cx="615623" cy="615623"/>
          </a:xfrm>
          <a:prstGeom prst="rect">
            <a:avLst/>
          </a:prstGeom>
        </p:spPr>
      </p:pic>
      <p:sp>
        <p:nvSpPr>
          <p:cNvPr id="41" name="Rectangle 14">
            <a:extLst>
              <a:ext uri="{FF2B5EF4-FFF2-40B4-BE49-F238E27FC236}">
                <a16:creationId xmlns:a16="http://schemas.microsoft.com/office/drawing/2014/main" id="{115EC200-7D93-4F2C-80DB-F0D0B867D06F}"/>
              </a:ext>
            </a:extLst>
          </p:cNvPr>
          <p:cNvSpPr/>
          <p:nvPr/>
        </p:nvSpPr>
        <p:spPr>
          <a:xfrm>
            <a:off x="8901598" y="1900657"/>
            <a:ext cx="31815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fi-FI" sz="1400" b="1">
                <a:solidFill>
                  <a:prstClr val="black"/>
                </a:solidFill>
              </a:rPr>
              <a:t>ASUKKAIDEN PALVELUTARPEET</a:t>
            </a:r>
          </a:p>
          <a:p>
            <a:pPr lvl="0" algn="ctr"/>
            <a:r>
              <a:rPr lang="fi-FI" sz="1100">
                <a:solidFill>
                  <a:prstClr val="black"/>
                </a:solidFill>
              </a:rPr>
              <a:t>Alueen väestörakenne, palvelutarpeet, hyvinvoinnin nykytila ja näkemys sen kehityssuunnista. Tietoon perustuva ennakointi.</a:t>
            </a:r>
          </a:p>
          <a:p>
            <a:pPr lvl="0" algn="ctr"/>
            <a:endParaRPr lang="fi-FI" sz="1100">
              <a:solidFill>
                <a:prstClr val="black"/>
              </a:solidFill>
            </a:endParaRPr>
          </a:p>
          <a:p>
            <a:pPr lvl="0" algn="ctr"/>
            <a:endParaRPr lang="fi-FI" sz="1400" b="1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550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0">
            <a:extLst>
              <a:ext uri="{FF2B5EF4-FFF2-40B4-BE49-F238E27FC236}">
                <a16:creationId xmlns:a16="http://schemas.microsoft.com/office/drawing/2014/main" id="{780E2CCC-B105-49CE-B437-F0E596E750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844" b="15999"/>
          <a:stretch/>
        </p:blipFill>
        <p:spPr>
          <a:xfrm>
            <a:off x="9031942" y="2148650"/>
            <a:ext cx="2373479" cy="199288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572959-5268-4554-8E80-961CA76A0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4</a:t>
            </a:fld>
            <a:endParaRPr lang="fi-F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E61F51-6738-4DEA-8AF7-E537F496A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124" y="369179"/>
            <a:ext cx="9569557" cy="613182"/>
          </a:xfrm>
        </p:spPr>
        <p:txBody>
          <a:bodyPr>
            <a:normAutofit/>
          </a:bodyPr>
          <a:lstStyle/>
          <a:p>
            <a:r>
              <a:rPr lang="fi-FI" sz="2400">
                <a:solidFill>
                  <a:srgbClr val="7030A0"/>
                </a:solidFill>
              </a:rPr>
              <a:t>Hyvinvointialueen strategian vaiheistus ja syveneminen</a:t>
            </a:r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55A1DB83-E830-4372-90C9-A32694BE7FB1}"/>
              </a:ext>
            </a:extLst>
          </p:cNvPr>
          <p:cNvSpPr/>
          <p:nvPr/>
        </p:nvSpPr>
        <p:spPr>
          <a:xfrm>
            <a:off x="3693456" y="2926073"/>
            <a:ext cx="502713" cy="47431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A7697B26-7FD3-44E7-9C50-B6A52FB0B1AB}"/>
              </a:ext>
            </a:extLst>
          </p:cNvPr>
          <p:cNvSpPr/>
          <p:nvPr/>
        </p:nvSpPr>
        <p:spPr>
          <a:xfrm>
            <a:off x="7860180" y="2926073"/>
            <a:ext cx="502713" cy="47431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1F6F7BD-3179-43D2-B678-6AFA05B7F137}"/>
              </a:ext>
            </a:extLst>
          </p:cNvPr>
          <p:cNvSpPr txBox="1"/>
          <p:nvPr/>
        </p:nvSpPr>
        <p:spPr>
          <a:xfrm>
            <a:off x="582874" y="1421044"/>
            <a:ext cx="31017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b="1"/>
              <a:t>Hyvinvointialueen käynnistäminen</a:t>
            </a:r>
            <a:br>
              <a:rPr lang="fi-FI" sz="1400" b="1"/>
            </a:br>
            <a:r>
              <a:rPr lang="fi-FI" sz="1400" b="1"/>
              <a:t>(2022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85D17F8-CCD3-4447-AABF-0660B4F3C937}"/>
              </a:ext>
            </a:extLst>
          </p:cNvPr>
          <p:cNvSpPr txBox="1"/>
          <p:nvPr/>
        </p:nvSpPr>
        <p:spPr>
          <a:xfrm>
            <a:off x="4615784" y="1421044"/>
            <a:ext cx="310178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b="1"/>
              <a:t>Hyvinvointialueen strategia, ensimmäinen valtuustokausi </a:t>
            </a:r>
          </a:p>
          <a:p>
            <a:pPr algn="ctr"/>
            <a:r>
              <a:rPr lang="fi-FI" sz="1400" b="1"/>
              <a:t>(2023-2025)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1FC6DD6-A855-41CC-8BC5-BA03E4CFBEB3}"/>
              </a:ext>
            </a:extLst>
          </p:cNvPr>
          <p:cNvSpPr txBox="1"/>
          <p:nvPr/>
        </p:nvSpPr>
        <p:spPr>
          <a:xfrm>
            <a:off x="8465215" y="1421044"/>
            <a:ext cx="34633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b="1"/>
              <a:t>Hyvinvointialueen strategia, </a:t>
            </a:r>
          </a:p>
          <a:p>
            <a:pPr algn="ctr"/>
            <a:r>
              <a:rPr lang="fi-FI" sz="1400" b="1"/>
              <a:t>toinen valtuustokausi </a:t>
            </a:r>
          </a:p>
          <a:p>
            <a:pPr algn="ctr"/>
            <a:r>
              <a:rPr lang="fi-FI" sz="1400" b="1"/>
              <a:t>(~6/2025-6/2029)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9D3A68A-9AAE-4690-85B5-5D435E366A05}"/>
              </a:ext>
            </a:extLst>
          </p:cNvPr>
          <p:cNvSpPr/>
          <p:nvPr/>
        </p:nvSpPr>
        <p:spPr>
          <a:xfrm>
            <a:off x="155425" y="4194378"/>
            <a:ext cx="4003301" cy="1942008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fi-FI" b="1"/>
              <a:t>Muutoksen valmistelu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i-FI" sz="1200"/>
              <a:t>Tavoitteena </a:t>
            </a:r>
            <a:r>
              <a:rPr lang="fi-FI" sz="1200" b="1"/>
              <a:t>välttämättömän toteuttaminen </a:t>
            </a:r>
            <a:r>
              <a:rPr lang="fi-FI" sz="1200"/>
              <a:t>– jotta taataan </a:t>
            </a:r>
            <a:r>
              <a:rPr lang="fi-FI" sz="1200" b="1"/>
              <a:t>turvallinen siirtymä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i-FI" sz="1200"/>
              <a:t>Määritellään ja toteutetaan ensimmäisen hyvinvointialuestrategian l</a:t>
            </a:r>
            <a:r>
              <a:rPr lang="fi-FI" sz="1200" b="1"/>
              <a:t>aadintaprosessi</a:t>
            </a:r>
            <a:r>
              <a:rPr lang="fi-FI" sz="1200"/>
              <a:t>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i-FI" sz="1200">
                <a:solidFill>
                  <a:schemeClr val="tx1"/>
                </a:solidFill>
              </a:rPr>
              <a:t>Painopisteet ja keskeiset pitkän aikavälin tavoitteet, joiden </a:t>
            </a:r>
            <a:r>
              <a:rPr lang="fi-FI" sz="1200"/>
              <a:t>pohjalta voidaan laatia </a:t>
            </a:r>
            <a:r>
              <a:rPr lang="fi-FI" sz="1200" b="1">
                <a:solidFill>
                  <a:schemeClr val="tx1"/>
                </a:solidFill>
              </a:rPr>
              <a:t>talousarvio </a:t>
            </a:r>
            <a:r>
              <a:rPr lang="fi-FI" sz="1200">
                <a:solidFill>
                  <a:schemeClr val="tx1"/>
                </a:solidFill>
              </a:rPr>
              <a:t>ja </a:t>
            </a:r>
            <a:r>
              <a:rPr lang="fi-FI" sz="1200" b="1">
                <a:solidFill>
                  <a:schemeClr val="tx1"/>
                </a:solidFill>
              </a:rPr>
              <a:t>vuositason tavoitteet </a:t>
            </a:r>
            <a:r>
              <a:rPr lang="fi-FI" sz="1200">
                <a:solidFill>
                  <a:schemeClr val="tx1"/>
                </a:solidFill>
              </a:rPr>
              <a:t>(vuodelle 2023).</a:t>
            </a:r>
            <a:endParaRPr kumimoji="0" lang="fi-FI" sz="1200" i="0" u="none" strike="noStrike" kern="1200" cap="none" spc="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algn="ctr">
              <a:spcAft>
                <a:spcPts val="600"/>
              </a:spcAft>
            </a:pPr>
            <a:endParaRPr lang="fi-FI" sz="1200" b="1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803CF4D-5E95-4582-B25B-9AF5539E9AD6}"/>
              </a:ext>
            </a:extLst>
          </p:cNvPr>
          <p:cNvSpPr/>
          <p:nvPr/>
        </p:nvSpPr>
        <p:spPr>
          <a:xfrm>
            <a:off x="4233612" y="4215711"/>
            <a:ext cx="4548537" cy="2407161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fi-FI" b="1"/>
              <a:t>Muutoksen hallinta </a:t>
            </a:r>
            <a:r>
              <a:rPr lang="fi-FI" b="1">
                <a:solidFill>
                  <a:schemeClr val="tx1"/>
                </a:solidFill>
              </a:rPr>
              <a:t>ja turvallinen siirtymä</a:t>
            </a:r>
            <a:endParaRPr lang="fi-FI" b="1" i="1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i-FI" sz="1200">
                <a:solidFill>
                  <a:schemeClr val="tx1"/>
                </a:solidFill>
              </a:rPr>
              <a:t>Hyvinvointialueen ensimmäisellä strategialla hallitaan turvallista siirtymää, varmistetaan yhteinen suunta, yhtenäistetään palvelutuotantoa ja käynnistetään </a:t>
            </a:r>
            <a:r>
              <a:rPr lang="fi-FI" sz="1200"/>
              <a:t>palvelutason parantaminen.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i-FI" sz="1200">
                <a:solidFill>
                  <a:schemeClr val="tx1"/>
                </a:solidFill>
              </a:rPr>
              <a:t>Strategian päivitystarve arvioidaan vuosittain talousarvion tavoitteiden asettamisen yhteydessä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i-FI" sz="1200">
                <a:solidFill>
                  <a:schemeClr val="tx1"/>
                </a:solidFill>
              </a:rPr>
              <a:t>Pitkän aikavälin tavoitteiden konkretisointi vuositavoitteiden asettamisen yhteydessä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i-FI" sz="1200">
                <a:solidFill>
                  <a:schemeClr val="tx1"/>
                </a:solidFill>
              </a:rPr>
              <a:t>Pelastustoimen uusi palvelutasopäätös valtuuston hyväksyttäväksi 12/2023.</a:t>
            </a:r>
          </a:p>
          <a:p>
            <a:pPr algn="ctr">
              <a:spcAft>
                <a:spcPts val="600"/>
              </a:spcAft>
            </a:pPr>
            <a:endParaRPr lang="fi-FI" sz="1200"/>
          </a:p>
          <a:p>
            <a:pPr algn="ctr">
              <a:spcAft>
                <a:spcPts val="600"/>
              </a:spcAft>
            </a:pPr>
            <a:endParaRPr lang="fi-FI" sz="120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4F03A33-D6A9-4A04-ACB0-4513AB137A3E}"/>
              </a:ext>
            </a:extLst>
          </p:cNvPr>
          <p:cNvSpPr/>
          <p:nvPr/>
        </p:nvSpPr>
        <p:spPr>
          <a:xfrm>
            <a:off x="8815971" y="4215712"/>
            <a:ext cx="3376029" cy="2566947"/>
          </a:xfrm>
          <a:prstGeom prst="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fi-FI" sz="1800" b="1">
                <a:solidFill>
                  <a:schemeClr val="tx1"/>
                </a:solidFill>
              </a:rPr>
              <a:t>Toiminnan kehittäminen jatkuu</a:t>
            </a:r>
            <a:endParaRPr lang="fi-FI" sz="1400" b="1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i-FI" sz="1200">
                <a:solidFill>
                  <a:schemeClr val="tx1"/>
                </a:solidFill>
              </a:rPr>
              <a:t>Strategian ajankohtaisuuden ja tavoitteiden arviointi ja tarkoituksenmukainen uudistamine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i-FI" sz="1200">
                <a:solidFill>
                  <a:schemeClr val="tx1"/>
                </a:solidFill>
              </a:rPr>
              <a:t>Strategista kehittämistä jatketaan ennakoiden palvelutarpeiden ja toimintaympäristön muutoksia, henkilöstö- ja asiakaskokemusta hyödyntäen.</a:t>
            </a:r>
            <a:endParaRPr lang="fi-FI" sz="1200" b="1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2DB0C23-B39E-4423-B4D9-BCDEF4F3FC3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614" b="16601"/>
          <a:stretch/>
        </p:blipFill>
        <p:spPr>
          <a:xfrm>
            <a:off x="4935413" y="2196122"/>
            <a:ext cx="2378114" cy="19564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6891E94-14A9-4853-A6EF-C4C7C4993D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04795" y="2091562"/>
            <a:ext cx="1942008" cy="1942008"/>
          </a:xfrm>
          <a:prstGeom prst="rect">
            <a:avLst/>
          </a:prstGeom>
        </p:spPr>
      </p:pic>
      <p:sp>
        <p:nvSpPr>
          <p:cNvPr id="28" name="Date Placeholder 1">
            <a:extLst>
              <a:ext uri="{FF2B5EF4-FFF2-40B4-BE49-F238E27FC236}">
                <a16:creationId xmlns:a16="http://schemas.microsoft.com/office/drawing/2014/main" id="{F83C3144-E06A-4F50-BC7D-BC1A729032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D4052BFA-D1B1-4F10-9C2D-643307B963F0}" type="datetime1">
              <a:rPr lang="fi-FI" smtClean="0"/>
              <a:t>8.3.202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9754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2507" y="276945"/>
            <a:ext cx="9569557" cy="613182"/>
          </a:xfrm>
        </p:spPr>
        <p:txBody>
          <a:bodyPr>
            <a:noAutofit/>
          </a:bodyPr>
          <a:lstStyle/>
          <a:p>
            <a:r>
              <a:rPr lang="fi-FI" sz="2400" dirty="0">
                <a:solidFill>
                  <a:srgbClr val="7030A0"/>
                </a:solidFill>
              </a:rPr>
              <a:t>Strategiavalmistelun vuosikello 2022</a:t>
            </a:r>
          </a:p>
        </p:txBody>
      </p:sp>
      <p:graphicFrame>
        <p:nvGraphicFramePr>
          <p:cNvPr id="17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1962729"/>
              </p:ext>
            </p:extLst>
          </p:nvPr>
        </p:nvGraphicFramePr>
        <p:xfrm>
          <a:off x="402507" y="4170869"/>
          <a:ext cx="4797083" cy="15849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47970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6140">
                <a:tc>
                  <a:txBody>
                    <a:bodyPr/>
                    <a:lstStyle/>
                    <a:p>
                      <a:r>
                        <a:rPr lang="fi-FI" sz="1400" b="1">
                          <a:solidFill>
                            <a:schemeClr val="tx1"/>
                          </a:solidFill>
                        </a:rPr>
                        <a:t>VAIHE 3: Hyvinvointialuestrategian viimeistely  hyväksyttäväks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fi-FI" sz="1400" b="1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i-FI" sz="1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uevaltuuston talous- ja strategiaseminaari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i-FI" sz="1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ategian viimeistely päätöksenteko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400" b="0">
                          <a:solidFill>
                            <a:schemeClr val="tx1"/>
                          </a:solidFill>
                        </a:rPr>
                        <a:t>Talousarvion ja -suunnitelman työstämin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400" b="0">
                          <a:solidFill>
                            <a:schemeClr val="tx1"/>
                          </a:solidFill>
                        </a:rPr>
                        <a:t>Muiden ohjausdokumenttien huomioiminen aluestrategiassa</a:t>
                      </a:r>
                    </a:p>
                  </a:txBody>
                  <a:tcPr marL="91510" marR="9151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8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2878290"/>
              </p:ext>
            </p:extLst>
          </p:nvPr>
        </p:nvGraphicFramePr>
        <p:xfrm>
          <a:off x="7854797" y="1696362"/>
          <a:ext cx="3748242" cy="163576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37482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6140">
                <a:tc>
                  <a:txBody>
                    <a:bodyPr/>
                    <a:lstStyle/>
                    <a:p>
                      <a:r>
                        <a:rPr lang="fi-FI" sz="1400" b="1">
                          <a:solidFill>
                            <a:schemeClr val="tx1"/>
                          </a:solidFill>
                        </a:rPr>
                        <a:t>VAIHE 1: Hyvinvointialueen v. 2022 strategiaprosessin suunnittelu ja käsittely</a:t>
                      </a:r>
                      <a:br>
                        <a:rPr lang="fi-FI" sz="1400" b="1">
                          <a:solidFill>
                            <a:schemeClr val="tx1"/>
                          </a:solidFill>
                        </a:rPr>
                      </a:br>
                      <a:endParaRPr lang="fi-FI" sz="1400" b="1">
                        <a:solidFill>
                          <a:schemeClr val="tx1"/>
                        </a:solidFill>
                      </a:endParaRPr>
                    </a:p>
                    <a:p>
                      <a:pPr marL="114300" marR="0" lvl="1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fi-FI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Strategiaprosessin työsuunnitelma vuodelle 2022 </a:t>
                      </a:r>
                    </a:p>
                    <a:p>
                      <a:pPr marL="114300" marR="0" lvl="1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fi-FI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Strategiakokonaisuuden rakenteiden määrittäminen</a:t>
                      </a:r>
                    </a:p>
                  </a:txBody>
                  <a:tcPr marL="91510" marR="9151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9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323479"/>
              </p:ext>
            </p:extLst>
          </p:nvPr>
        </p:nvGraphicFramePr>
        <p:xfrm>
          <a:off x="7849954" y="4170869"/>
          <a:ext cx="4208518" cy="17983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085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53065">
                <a:tc>
                  <a:txBody>
                    <a:bodyPr/>
                    <a:lstStyle/>
                    <a:p>
                      <a:r>
                        <a:rPr lang="fi-FI" sz="1400"/>
                        <a:t>VAIHE 2: Hyvinvointialuestrategian valmistelu ja </a:t>
                      </a:r>
                      <a:r>
                        <a:rPr lang="fi-FI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ategisten painopisteiden linjaukset</a:t>
                      </a:r>
                    </a:p>
                    <a:p>
                      <a:endParaRPr lang="fi-FI"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0" lang="fi-FI" sz="1400" b="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Keskeisten toimijoiden (valtuutetut, henkilöstö, asukkaat) osallistuminen strategiatyöhön käynnisty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0" lang="fi-FI" sz="1400" b="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Hyvinvointialueen mission, strategisten painopisteiden ja tavoitteiden valmistelu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0" lang="fi-FI" sz="1400" b="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Talousarviovalmistelun käynnistäminen</a:t>
                      </a:r>
                      <a:endParaRPr kumimoji="0" lang="fi-FI" sz="1400" b="0" u="none" strike="noStrike" kern="1200" cap="none" spc="0" normalizeH="0" baseline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91510" marR="9151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93FDE341-F166-405F-9530-3C4D89C8C7C7}"/>
              </a:ext>
            </a:extLst>
          </p:cNvPr>
          <p:cNvSpPr txBox="1"/>
          <p:nvPr/>
        </p:nvSpPr>
        <p:spPr>
          <a:xfrm>
            <a:off x="7849953" y="1369515"/>
            <a:ext cx="36450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sz="1400" b="1">
                <a:solidFill>
                  <a:schemeClr val="accent4"/>
                </a:solidFill>
                <a:latin typeface="+mj-lt"/>
              </a:rPr>
              <a:t>Tammikuu-maaliskuu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B1E43DC-5C09-48E7-BCFF-9C6DAC6C0F01}"/>
              </a:ext>
            </a:extLst>
          </p:cNvPr>
          <p:cNvSpPr txBox="1"/>
          <p:nvPr/>
        </p:nvSpPr>
        <p:spPr>
          <a:xfrm>
            <a:off x="7834180" y="3756412"/>
            <a:ext cx="38355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uhtikuu</a:t>
            </a:r>
            <a:r>
              <a:rPr lang="fi-FI" sz="14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-kesäkuu 2022</a:t>
            </a: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273AA1-BEFC-47ED-B380-37ECA8C0AB89}"/>
              </a:ext>
            </a:extLst>
          </p:cNvPr>
          <p:cNvSpPr txBox="1"/>
          <p:nvPr/>
        </p:nvSpPr>
        <p:spPr>
          <a:xfrm>
            <a:off x="402507" y="3756412"/>
            <a:ext cx="32712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400" b="1">
                <a:solidFill>
                  <a:schemeClr val="accent2">
                    <a:lumMod val="75000"/>
                  </a:schemeClr>
                </a:solidFill>
                <a:latin typeface="+mj-lt"/>
              </a:rPr>
              <a:t>Elo</a:t>
            </a: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uu – syyskuu 202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D153855-0BCA-4353-8F22-007780123721}"/>
              </a:ext>
            </a:extLst>
          </p:cNvPr>
          <p:cNvSpPr txBox="1"/>
          <p:nvPr/>
        </p:nvSpPr>
        <p:spPr>
          <a:xfrm>
            <a:off x="402507" y="1369515"/>
            <a:ext cx="358153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kakuu – joulukuu 2022</a:t>
            </a:r>
          </a:p>
        </p:txBody>
      </p:sp>
      <p:graphicFrame>
        <p:nvGraphicFramePr>
          <p:cNvPr id="16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042838"/>
              </p:ext>
            </p:extLst>
          </p:nvPr>
        </p:nvGraphicFramePr>
        <p:xfrm>
          <a:off x="501650" y="1643333"/>
          <a:ext cx="4163026" cy="158496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4163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6140">
                <a:tc>
                  <a:txBody>
                    <a:bodyPr/>
                    <a:lstStyle/>
                    <a:p>
                      <a:r>
                        <a:rPr lang="fi-FI" sz="1400" b="1">
                          <a:solidFill>
                            <a:schemeClr val="tx1"/>
                          </a:solidFill>
                        </a:rPr>
                        <a:t>VAIHE 4: Talousarvion- ja suunnitelman hyväksyminen</a:t>
                      </a:r>
                    </a:p>
                    <a:p>
                      <a:endParaRPr lang="fi-FI" sz="1400" b="1" u="sng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400" b="0">
                          <a:solidFill>
                            <a:schemeClr val="tx1"/>
                          </a:solidFill>
                        </a:rPr>
                        <a:t>Talousarvion ja -suunnitelman käsittely ja hyväksyminen (ml. hv-aluestrategiasta johdettujen vuositavoitteiden asettaminen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400" b="0">
                          <a:solidFill>
                            <a:schemeClr val="tx1"/>
                          </a:solidFill>
                        </a:rPr>
                        <a:t>Strategian visualisointi ja toimeenpanosuunnitelma</a:t>
                      </a:r>
                    </a:p>
                  </a:txBody>
                  <a:tcPr marL="91510" marR="9151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7704B9AD-E85C-48AD-AD03-A563981A4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/>
          <a:p>
            <a:fld id="{D5C7B8F6-2765-465B-BF52-D1DF320C1AE3}" type="slidenum">
              <a:rPr lang="fi-FI" smtClean="0"/>
              <a:t>5</a:t>
            </a:fld>
            <a:endParaRPr lang="fi-FI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41DE5EC-03CB-4BA9-AE01-5EEBF506A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4676" y="2330717"/>
            <a:ext cx="3131627" cy="313162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7654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010183-21DD-41EA-993D-343EE7A7F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C7B8F6-2765-465B-BF52-D1DF320C1AE3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SemiBold" panose="00000700000000000000" pitchFamily="2" charset="0"/>
              <a:ea typeface="+mn-ea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35528E7-0DAE-40E5-BB23-1954F3356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838" y="237162"/>
            <a:ext cx="9569557" cy="613182"/>
          </a:xfrm>
        </p:spPr>
        <p:txBody>
          <a:bodyPr>
            <a:noAutofit/>
          </a:bodyPr>
          <a:lstStyle/>
          <a:p>
            <a:r>
              <a:rPr lang="fi-FI" sz="2400" dirty="0">
                <a:solidFill>
                  <a:srgbClr val="7030A0"/>
                </a:solidFill>
              </a:rPr>
              <a:t>Strategiavalmistelun aikataulu 2022, osallisuussuunnitelma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555B0BD-D94E-4817-ADB4-60251D0E5C45}"/>
              </a:ext>
            </a:extLst>
          </p:cNvPr>
          <p:cNvSpPr txBox="1">
            <a:spLocks/>
          </p:cNvSpPr>
          <p:nvPr/>
        </p:nvSpPr>
        <p:spPr bwMode="gray">
          <a:xfrm>
            <a:off x="2500328" y="2744386"/>
            <a:ext cx="3993894" cy="3300964"/>
          </a:xfrm>
          <a:prstGeom prst="rect">
            <a:avLst/>
          </a:prstGeom>
          <a:ln>
            <a:noFill/>
          </a:ln>
        </p:spPr>
        <p:txBody>
          <a:bodyPr vert="horz" wrap="square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C1011E6-2A36-4B32-B364-9FD7B39555DA}"/>
              </a:ext>
            </a:extLst>
          </p:cNvPr>
          <p:cNvSpPr txBox="1">
            <a:spLocks/>
          </p:cNvSpPr>
          <p:nvPr/>
        </p:nvSpPr>
        <p:spPr bwMode="gray">
          <a:xfrm>
            <a:off x="602702" y="2695864"/>
            <a:ext cx="2160000" cy="2500745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0936C69-8658-49E0-AC65-BA599272F1F3}"/>
              </a:ext>
            </a:extLst>
          </p:cNvPr>
          <p:cNvSpPr txBox="1">
            <a:spLocks/>
          </p:cNvSpPr>
          <p:nvPr/>
        </p:nvSpPr>
        <p:spPr bwMode="gray">
          <a:xfrm>
            <a:off x="6494742" y="2721698"/>
            <a:ext cx="1969959" cy="2500745"/>
          </a:xfrm>
          <a:prstGeom prst="rect">
            <a:avLst/>
          </a:prstGeom>
          <a:ln>
            <a:noFill/>
          </a:ln>
        </p:spPr>
        <p:txBody>
          <a:bodyPr vert="horz" wrap="square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Aluevaltuuston </a:t>
            </a:r>
            <a:r>
              <a:rPr kumimoji="0" lang="fi-FI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talous- ja strategiaseminaari </a:t>
            </a: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Tavoitteiden jatkojalostus ja viimeistely; ryhmätyöt ja yhteiskeskustelu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A549B7-4A86-45EF-B7D5-DBB19C54F060}"/>
              </a:ext>
            </a:extLst>
          </p:cNvPr>
          <p:cNvSpPr>
            <a:spLocks/>
          </p:cNvSpPr>
          <p:nvPr/>
        </p:nvSpPr>
        <p:spPr bwMode="gray">
          <a:xfrm>
            <a:off x="10378583" y="2092154"/>
            <a:ext cx="1850626" cy="77889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852043A-6C47-43B9-89E7-59A59D3F6A3D}"/>
              </a:ext>
            </a:extLst>
          </p:cNvPr>
          <p:cNvSpPr>
            <a:spLocks/>
          </p:cNvSpPr>
          <p:nvPr/>
        </p:nvSpPr>
        <p:spPr bwMode="gray">
          <a:xfrm>
            <a:off x="3451175" y="2092155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67000">
                <a:schemeClr val="accent4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A5AC2B6-63A4-4BFE-8C23-6A93B2432FCB}"/>
              </a:ext>
            </a:extLst>
          </p:cNvPr>
          <p:cNvGrpSpPr>
            <a:grpSpLocks/>
          </p:cNvGrpSpPr>
          <p:nvPr/>
        </p:nvGrpSpPr>
        <p:grpSpPr>
          <a:xfrm>
            <a:off x="1951184" y="959680"/>
            <a:ext cx="1598523" cy="2005765"/>
            <a:chOff x="2055768" y="1602865"/>
            <a:chExt cx="1598523" cy="2005765"/>
          </a:xfrm>
        </p:grpSpPr>
        <p:sp>
          <p:nvSpPr>
            <p:cNvPr id="17" name="Teardrop 16">
              <a:extLst>
                <a:ext uri="{FF2B5EF4-FFF2-40B4-BE49-F238E27FC236}">
                  <a16:creationId xmlns:a16="http://schemas.microsoft.com/office/drawing/2014/main" id="{7B85850E-8591-417B-89BC-265A4D1935A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BF2D498C-2090-49A1-B111-0B056C6E4606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D1284B1-14F9-42DC-9D06-92082C739AB2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623F66-F3D2-495F-81F1-3E39E0814FE0}"/>
              </a:ext>
            </a:extLst>
          </p:cNvPr>
          <p:cNvGrpSpPr>
            <a:grpSpLocks/>
          </p:cNvGrpSpPr>
          <p:nvPr/>
        </p:nvGrpSpPr>
        <p:grpSpPr>
          <a:xfrm>
            <a:off x="4289357" y="959680"/>
            <a:ext cx="1598523" cy="2005765"/>
            <a:chOff x="3622989" y="1602865"/>
            <a:chExt cx="1598523" cy="2005765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2615CAEE-B69B-4E9E-B0A9-309F2216568B}"/>
                </a:ext>
              </a:extLst>
            </p:cNvPr>
            <p:cNvSpPr/>
            <p:nvPr/>
          </p:nvSpPr>
          <p:spPr bwMode="gray">
            <a:xfrm rot="8100000">
              <a:off x="3670329" y="1602865"/>
              <a:ext cx="1503841" cy="1503844"/>
            </a:xfrm>
            <a:prstGeom prst="teardrop">
              <a:avLst/>
            </a:prstGeom>
            <a:solidFill>
              <a:schemeClr val="accent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27">
              <a:extLst>
                <a:ext uri="{FF2B5EF4-FFF2-40B4-BE49-F238E27FC236}">
                  <a16:creationId xmlns:a16="http://schemas.microsoft.com/office/drawing/2014/main" id="{F8E742E0-515B-486D-B5C1-C8509E32419B}"/>
                </a:ext>
              </a:extLst>
            </p:cNvPr>
            <p:cNvSpPr/>
            <p:nvPr/>
          </p:nvSpPr>
          <p:spPr bwMode="gray">
            <a:xfrm>
              <a:off x="362298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9A5CD6E-AC20-4449-AC38-96E33B7E3D65}"/>
                </a:ext>
              </a:extLst>
            </p:cNvPr>
            <p:cNvSpPr/>
            <p:nvPr/>
          </p:nvSpPr>
          <p:spPr bwMode="gray">
            <a:xfrm>
              <a:off x="3862715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51ED2DA-8B32-41D3-9E31-0EF8F03A8547}"/>
              </a:ext>
            </a:extLst>
          </p:cNvPr>
          <p:cNvGrpSpPr>
            <a:grpSpLocks/>
          </p:cNvGrpSpPr>
          <p:nvPr/>
        </p:nvGrpSpPr>
        <p:grpSpPr>
          <a:xfrm>
            <a:off x="6496982" y="959680"/>
            <a:ext cx="1598523" cy="2005765"/>
            <a:chOff x="5190209" y="1602865"/>
            <a:chExt cx="1598523" cy="2005765"/>
          </a:xfrm>
        </p:grpSpPr>
        <p:sp>
          <p:nvSpPr>
            <p:cNvPr id="25" name="Teardrop 24">
              <a:extLst>
                <a:ext uri="{FF2B5EF4-FFF2-40B4-BE49-F238E27FC236}">
                  <a16:creationId xmlns:a16="http://schemas.microsoft.com/office/drawing/2014/main" id="{C760BEBF-9A27-4E32-9EE4-4EDE1D73707A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BC1AF835-C276-4010-9CB8-AE7BD742F543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68022C5-BE5A-4289-988F-76C9182402D0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06C4B5-0129-47A3-9CBF-3157A2E1B752}"/>
              </a:ext>
            </a:extLst>
          </p:cNvPr>
          <p:cNvGrpSpPr>
            <a:grpSpLocks/>
          </p:cNvGrpSpPr>
          <p:nvPr/>
        </p:nvGrpSpPr>
        <p:grpSpPr>
          <a:xfrm>
            <a:off x="8850782" y="959680"/>
            <a:ext cx="1598523" cy="2005765"/>
            <a:chOff x="6763077" y="1602865"/>
            <a:chExt cx="1598523" cy="2005765"/>
          </a:xfrm>
        </p:grpSpPr>
        <p:sp>
          <p:nvSpPr>
            <p:cNvPr id="29" name="Teardrop 28">
              <a:extLst>
                <a:ext uri="{FF2B5EF4-FFF2-40B4-BE49-F238E27FC236}">
                  <a16:creationId xmlns:a16="http://schemas.microsoft.com/office/drawing/2014/main" id="{AB74DA41-E982-456C-9B80-9F9EF2494264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E619F645-693E-40E2-8553-B5C9F86291D3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F24B27B3-7FE0-4D93-925D-00221620689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13C9CCD-0DE6-4134-BC27-316FE673E628}"/>
              </a:ext>
            </a:extLst>
          </p:cNvPr>
          <p:cNvSpPr>
            <a:spLocks/>
          </p:cNvSpPr>
          <p:nvPr/>
        </p:nvSpPr>
        <p:spPr bwMode="gray">
          <a:xfrm>
            <a:off x="90349" y="2090450"/>
            <a:ext cx="1896856" cy="74495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0AF3561-2295-4BD6-8542-024F62443BF8}"/>
              </a:ext>
            </a:extLst>
          </p:cNvPr>
          <p:cNvSpPr>
            <a:spLocks/>
          </p:cNvSpPr>
          <p:nvPr/>
        </p:nvSpPr>
        <p:spPr bwMode="gray">
          <a:xfrm>
            <a:off x="5817241" y="2092154"/>
            <a:ext cx="747424" cy="77889"/>
          </a:xfrm>
          <a:prstGeom prst="rect">
            <a:avLst/>
          </a:prstGeom>
          <a:gradFill>
            <a:gsLst>
              <a:gs pos="23000">
                <a:schemeClr val="accent4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49AE5C9-6494-4E3B-ADD0-774E4B5725CA}"/>
              </a:ext>
            </a:extLst>
          </p:cNvPr>
          <p:cNvSpPr>
            <a:spLocks/>
          </p:cNvSpPr>
          <p:nvPr/>
        </p:nvSpPr>
        <p:spPr bwMode="gray">
          <a:xfrm>
            <a:off x="8013902" y="2092154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fi-FI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35" name="Graphic 34" descr="Gavel with solid fill">
            <a:extLst>
              <a:ext uri="{FF2B5EF4-FFF2-40B4-BE49-F238E27FC236}">
                <a16:creationId xmlns:a16="http://schemas.microsoft.com/office/drawing/2014/main" id="{79398A0F-7DF6-4D4B-ABE2-012434DD6D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77245" y="1255884"/>
            <a:ext cx="726329" cy="726329"/>
          </a:xfrm>
          <a:prstGeom prst="rect">
            <a:avLst/>
          </a:prstGeom>
        </p:spPr>
      </p:pic>
      <p:pic>
        <p:nvPicPr>
          <p:cNvPr id="36" name="Graphic 35" descr="Workflow with solid fill">
            <a:extLst>
              <a:ext uri="{FF2B5EF4-FFF2-40B4-BE49-F238E27FC236}">
                <a16:creationId xmlns:a16="http://schemas.microsoft.com/office/drawing/2014/main" id="{EAADD74E-3926-4389-8CD2-50DB531DE5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83624" y="1307467"/>
            <a:ext cx="750668" cy="750668"/>
          </a:xfrm>
          <a:prstGeom prst="rect">
            <a:avLst/>
          </a:prstGeom>
        </p:spPr>
      </p:pic>
      <p:pic>
        <p:nvPicPr>
          <p:cNvPr id="37" name="Graphic 36" descr="Boardroom with solid fill">
            <a:extLst>
              <a:ext uri="{FF2B5EF4-FFF2-40B4-BE49-F238E27FC236}">
                <a16:creationId xmlns:a16="http://schemas.microsoft.com/office/drawing/2014/main" id="{CA85FFA3-D337-492A-B03C-410A34D1F4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9042" y="1161848"/>
            <a:ext cx="914400" cy="914400"/>
          </a:xfrm>
          <a:prstGeom prst="rect">
            <a:avLst/>
          </a:prstGeom>
        </p:spPr>
      </p:pic>
      <p:pic>
        <p:nvPicPr>
          <p:cNvPr id="38" name="Graphic 37" descr="Clipboard with solid fill">
            <a:extLst>
              <a:ext uri="{FF2B5EF4-FFF2-40B4-BE49-F238E27FC236}">
                <a16:creationId xmlns:a16="http://schemas.microsoft.com/office/drawing/2014/main" id="{B1FFF6CD-0091-40A5-93FE-34F83B89E5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6392" y="1250463"/>
            <a:ext cx="807672" cy="807672"/>
          </a:xfrm>
          <a:prstGeom prst="rect">
            <a:avLst/>
          </a:prstGeom>
        </p:spPr>
      </p:pic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D764EBE6-1C12-438A-AF6E-5255403ED0E3}"/>
              </a:ext>
            </a:extLst>
          </p:cNvPr>
          <p:cNvSpPr txBox="1">
            <a:spLocks/>
          </p:cNvSpPr>
          <p:nvPr/>
        </p:nvSpPr>
        <p:spPr bwMode="gray">
          <a:xfrm>
            <a:off x="9065759" y="2525362"/>
            <a:ext cx="2764255" cy="1700526"/>
          </a:xfrm>
          <a:prstGeom prst="rect">
            <a:avLst/>
          </a:prstGeom>
          <a:ln>
            <a:noFill/>
          </a:ln>
        </p:spPr>
        <p:txBody>
          <a:bodyPr vert="horz" wrap="square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fi-FI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i-FI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Aluevaltuusto</a:t>
            </a:r>
            <a:r>
              <a:rPr kumimoji="0" lang="fi-FI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 </a:t>
            </a:r>
            <a:r>
              <a:rPr kumimoji="0" lang="fi-FI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hyväksyy hyvinvointialuestrategian</a:t>
            </a:r>
          </a:p>
        </p:txBody>
      </p:sp>
      <p:sp>
        <p:nvSpPr>
          <p:cNvPr id="41" name="Date Placeholder 1">
            <a:extLst>
              <a:ext uri="{FF2B5EF4-FFF2-40B4-BE49-F238E27FC236}">
                <a16:creationId xmlns:a16="http://schemas.microsoft.com/office/drawing/2014/main" id="{D50B6A2E-7AF9-4FDC-A527-45618C8486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052BFA-D1B1-4F10-9C2D-643307B963F0}" type="datetime1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.3.202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SemiBold" panose="00000700000000000000" pitchFamily="2" charset="0"/>
              <a:ea typeface="+mn-ea"/>
            </a:endParaRPr>
          </a:p>
        </p:txBody>
      </p:sp>
      <p:sp>
        <p:nvSpPr>
          <p:cNvPr id="43" name="Arrow: Right 29">
            <a:extLst>
              <a:ext uri="{FF2B5EF4-FFF2-40B4-BE49-F238E27FC236}">
                <a16:creationId xmlns:a16="http://schemas.microsoft.com/office/drawing/2014/main" id="{713C5DF4-3FBC-4E8B-94A7-75D145D12F2D}"/>
              </a:ext>
            </a:extLst>
          </p:cNvPr>
          <p:cNvSpPr/>
          <p:nvPr/>
        </p:nvSpPr>
        <p:spPr>
          <a:xfrm>
            <a:off x="184935" y="3100696"/>
            <a:ext cx="11694106" cy="751699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</p:txBody>
      </p:sp>
      <p:sp>
        <p:nvSpPr>
          <p:cNvPr id="44" name="TextBox 109">
            <a:extLst>
              <a:ext uri="{FF2B5EF4-FFF2-40B4-BE49-F238E27FC236}">
                <a16:creationId xmlns:a16="http://schemas.microsoft.com/office/drawing/2014/main" id="{89AEF6DF-3C46-4C98-8E58-D644F228CC9D}"/>
              </a:ext>
            </a:extLst>
          </p:cNvPr>
          <p:cNvSpPr txBox="1"/>
          <p:nvPr/>
        </p:nvSpPr>
        <p:spPr>
          <a:xfrm>
            <a:off x="1677346" y="3295846"/>
            <a:ext cx="4198747" cy="338554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1" u="none" strike="noStrike" kern="1200" cap="none" spc="60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Maalis</a:t>
            </a:r>
            <a:r>
              <a:rPr kumimoji="0" lang="fi-FI" sz="1600" b="1" i="1" u="none" strike="noStrike" kern="1200" cap="none" spc="6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 - Huhti</a:t>
            </a:r>
            <a:r>
              <a:rPr kumimoji="0" lang="fi-FI" sz="1600" b="1" i="1" u="none" strike="noStrike" kern="1200" cap="none" spc="6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kuu</a:t>
            </a:r>
          </a:p>
        </p:txBody>
      </p:sp>
      <p:sp>
        <p:nvSpPr>
          <p:cNvPr id="47" name="TextBox 112">
            <a:extLst>
              <a:ext uri="{FF2B5EF4-FFF2-40B4-BE49-F238E27FC236}">
                <a16:creationId xmlns:a16="http://schemas.microsoft.com/office/drawing/2014/main" id="{3AEDE4CF-35B2-4741-B83B-0FDC5A55953E}"/>
              </a:ext>
            </a:extLst>
          </p:cNvPr>
          <p:cNvSpPr txBox="1"/>
          <p:nvPr/>
        </p:nvSpPr>
        <p:spPr>
          <a:xfrm>
            <a:off x="7732039" y="3313280"/>
            <a:ext cx="805862" cy="338554"/>
          </a:xfrm>
          <a:prstGeom prst="rect">
            <a:avLst/>
          </a:prstGeom>
          <a:solidFill>
            <a:srgbClr val="00B0F0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1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Syys-</a:t>
            </a:r>
          </a:p>
        </p:txBody>
      </p:sp>
      <p:sp>
        <p:nvSpPr>
          <p:cNvPr id="49" name="TextBox 114">
            <a:extLst>
              <a:ext uri="{FF2B5EF4-FFF2-40B4-BE49-F238E27FC236}">
                <a16:creationId xmlns:a16="http://schemas.microsoft.com/office/drawing/2014/main" id="{DA877981-2525-4A1B-9EE6-91B7774C1041}"/>
              </a:ext>
            </a:extLst>
          </p:cNvPr>
          <p:cNvSpPr txBox="1"/>
          <p:nvPr/>
        </p:nvSpPr>
        <p:spPr>
          <a:xfrm>
            <a:off x="6044520" y="3295350"/>
            <a:ext cx="691783" cy="338554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1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Elo-</a:t>
            </a:r>
          </a:p>
        </p:txBody>
      </p:sp>
      <p:sp>
        <p:nvSpPr>
          <p:cNvPr id="50" name="TextBox 116">
            <a:extLst>
              <a:ext uri="{FF2B5EF4-FFF2-40B4-BE49-F238E27FC236}">
                <a16:creationId xmlns:a16="http://schemas.microsoft.com/office/drawing/2014/main" id="{72E444D0-C690-489D-98BE-5FA334347DCE}"/>
              </a:ext>
            </a:extLst>
          </p:cNvPr>
          <p:cNvSpPr txBox="1"/>
          <p:nvPr/>
        </p:nvSpPr>
        <p:spPr>
          <a:xfrm>
            <a:off x="9005783" y="3313281"/>
            <a:ext cx="836576" cy="338554"/>
          </a:xfrm>
          <a:prstGeom prst="rect">
            <a:avLst/>
          </a:prstGeom>
          <a:solidFill>
            <a:srgbClr val="00B0F0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1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Loka-</a:t>
            </a:r>
          </a:p>
        </p:txBody>
      </p:sp>
      <p:sp>
        <p:nvSpPr>
          <p:cNvPr id="51" name="TextBox 117">
            <a:extLst>
              <a:ext uri="{FF2B5EF4-FFF2-40B4-BE49-F238E27FC236}">
                <a16:creationId xmlns:a16="http://schemas.microsoft.com/office/drawing/2014/main" id="{28A38C5E-5145-4BE7-90C7-F38504396298}"/>
              </a:ext>
            </a:extLst>
          </p:cNvPr>
          <p:cNvSpPr txBox="1"/>
          <p:nvPr/>
        </p:nvSpPr>
        <p:spPr>
          <a:xfrm>
            <a:off x="10107375" y="3331430"/>
            <a:ext cx="1248932" cy="338554"/>
          </a:xfrm>
          <a:prstGeom prst="rect">
            <a:avLst/>
          </a:prstGeom>
          <a:solidFill>
            <a:srgbClr val="00B0F0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600" b="1" i="1" spc="300" dirty="0">
                <a:solidFill>
                  <a:schemeClr val="bg1"/>
                </a:solidFill>
                <a:latin typeface="Poppins ExtraLight"/>
              </a:rPr>
              <a:t>Joulu</a:t>
            </a:r>
            <a:r>
              <a:rPr kumimoji="0" lang="fi-FI" sz="1600" b="1" i="1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kuu</a:t>
            </a:r>
          </a:p>
        </p:txBody>
      </p:sp>
      <p:sp>
        <p:nvSpPr>
          <p:cNvPr id="65" name="TextBox 89">
            <a:extLst>
              <a:ext uri="{FF2B5EF4-FFF2-40B4-BE49-F238E27FC236}">
                <a16:creationId xmlns:a16="http://schemas.microsoft.com/office/drawing/2014/main" id="{C01C9CAD-7A64-4F1D-B92F-A166EE7D27A3}"/>
              </a:ext>
            </a:extLst>
          </p:cNvPr>
          <p:cNvSpPr txBox="1"/>
          <p:nvPr/>
        </p:nvSpPr>
        <p:spPr>
          <a:xfrm>
            <a:off x="2733527" y="3727399"/>
            <a:ext cx="248657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fi-FI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Times New Roman" panose="02020603050405020304" pitchFamily="18" charset="0"/>
                <a:cs typeface="Times New Roman" panose="02020603050405020304" pitchFamily="18" charset="0"/>
              </a:rPr>
              <a:t>Aluevaltuutetut</a:t>
            </a:r>
            <a:br>
              <a:rPr kumimoji="0" lang="fi-FI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fi-FI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endParaRPr kumimoji="0" lang="fi-FI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7" name="TextBox 93">
            <a:extLst>
              <a:ext uri="{FF2B5EF4-FFF2-40B4-BE49-F238E27FC236}">
                <a16:creationId xmlns:a16="http://schemas.microsoft.com/office/drawing/2014/main" id="{5F0DE183-FD3C-44D9-A00D-CE1A6B6ECAFF}"/>
              </a:ext>
            </a:extLst>
          </p:cNvPr>
          <p:cNvSpPr txBox="1"/>
          <p:nvPr/>
        </p:nvSpPr>
        <p:spPr>
          <a:xfrm>
            <a:off x="2725263" y="4025877"/>
            <a:ext cx="273668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4400" algn="l"/>
              </a:tabLst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Missio- ja strategiaehdotusten valmistelu</a:t>
            </a:r>
            <a:endParaRPr kumimoji="0" lang="fi-FI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914400" algn="l"/>
              </a:tabLst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Times New Roman" panose="02020603050405020304" pitchFamily="18" charset="0"/>
                <a:cs typeface="Times New Roman" panose="02020603050405020304" pitchFamily="18" charset="0"/>
              </a:rPr>
              <a:t>Virtuaalinen aivoriihi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914400" algn="l"/>
              </a:tabLst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Times New Roman" panose="02020603050405020304" pitchFamily="18" charset="0"/>
                <a:cs typeface="Times New Roman" panose="02020603050405020304" pitchFamily="18" charset="0"/>
              </a:rPr>
              <a:t>Aluevaltuuston työpaja (verkko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914400" algn="l"/>
              </a:tabLst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Valtuustoryhmien edustajien haastattelu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914400" algn="l"/>
              </a:tabLst>
              <a:defRPr/>
            </a:pPr>
            <a:endParaRPr kumimoji="0" lang="fi-FI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914400" algn="l"/>
              </a:tabLst>
              <a:defRPr/>
            </a:pPr>
            <a:endParaRPr kumimoji="0" lang="fi-FI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9" name="Tekstiruutu 68">
            <a:extLst>
              <a:ext uri="{FF2B5EF4-FFF2-40B4-BE49-F238E27FC236}">
                <a16:creationId xmlns:a16="http://schemas.microsoft.com/office/drawing/2014/main" id="{60E7AC88-7A0C-4BF2-B09D-4D4C97DE1CEA}"/>
              </a:ext>
            </a:extLst>
          </p:cNvPr>
          <p:cNvSpPr txBox="1"/>
          <p:nvPr/>
        </p:nvSpPr>
        <p:spPr>
          <a:xfrm>
            <a:off x="79854" y="3748457"/>
            <a:ext cx="243251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Palvelualueiden johtoryhmät</a:t>
            </a:r>
            <a:endParaRPr kumimoji="0" lang="fi-FI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Hyvinvointialueen tavoitetila (työpaja)</a:t>
            </a:r>
          </a:p>
        </p:txBody>
      </p:sp>
      <p:sp>
        <p:nvSpPr>
          <p:cNvPr id="70" name="Tekstiruutu 69">
            <a:extLst>
              <a:ext uri="{FF2B5EF4-FFF2-40B4-BE49-F238E27FC236}">
                <a16:creationId xmlns:a16="http://schemas.microsoft.com/office/drawing/2014/main" id="{352A582D-EE09-43C5-953D-21C03390DA45}"/>
              </a:ext>
            </a:extLst>
          </p:cNvPr>
          <p:cNvSpPr txBox="1"/>
          <p:nvPr/>
        </p:nvSpPr>
        <p:spPr>
          <a:xfrm>
            <a:off x="58006" y="4483779"/>
            <a:ext cx="265535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Henkilöstö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Alueen yhteinen arvopohj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ja missio (verkkokysely)</a:t>
            </a:r>
          </a:p>
        </p:txBody>
      </p:sp>
      <p:sp>
        <p:nvSpPr>
          <p:cNvPr id="71" name="Tekstiruutu 70">
            <a:extLst>
              <a:ext uri="{FF2B5EF4-FFF2-40B4-BE49-F238E27FC236}">
                <a16:creationId xmlns:a16="http://schemas.microsoft.com/office/drawing/2014/main" id="{81C1D382-2DBB-455E-88EF-BE91C9C7DDC3}"/>
              </a:ext>
            </a:extLst>
          </p:cNvPr>
          <p:cNvSpPr txBox="1"/>
          <p:nvPr/>
        </p:nvSpPr>
        <p:spPr>
          <a:xfrm>
            <a:off x="41865" y="5245131"/>
            <a:ext cx="251010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Asukkaat</a:t>
            </a:r>
            <a:endParaRPr kumimoji="0" lang="fi-FI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Odotukset hyvinvointialueelle, palvelulupaus (verkkokysely) </a:t>
            </a:r>
          </a:p>
        </p:txBody>
      </p:sp>
      <p:sp>
        <p:nvSpPr>
          <p:cNvPr id="73" name="Tekstiruutu 72">
            <a:extLst>
              <a:ext uri="{FF2B5EF4-FFF2-40B4-BE49-F238E27FC236}">
                <a16:creationId xmlns:a16="http://schemas.microsoft.com/office/drawing/2014/main" id="{9DBBCD97-6419-46C4-9F95-5DB1422EF0FD}"/>
              </a:ext>
            </a:extLst>
          </p:cNvPr>
          <p:cNvSpPr txBox="1"/>
          <p:nvPr/>
        </p:nvSpPr>
        <p:spPr>
          <a:xfrm>
            <a:off x="7296242" y="4915469"/>
            <a:ext cx="229559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Vaikuttamistoimielime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Luonnoksen kommentointi</a:t>
            </a:r>
          </a:p>
        </p:txBody>
      </p:sp>
      <p:sp>
        <p:nvSpPr>
          <p:cNvPr id="74" name="Tekstiruutu 73">
            <a:extLst>
              <a:ext uri="{FF2B5EF4-FFF2-40B4-BE49-F238E27FC236}">
                <a16:creationId xmlns:a16="http://schemas.microsoft.com/office/drawing/2014/main" id="{5A86C6E1-FC8C-458E-B50E-C852A8BD5D98}"/>
              </a:ext>
            </a:extLst>
          </p:cNvPr>
          <p:cNvSpPr txBox="1"/>
          <p:nvPr/>
        </p:nvSpPr>
        <p:spPr>
          <a:xfrm>
            <a:off x="1052182" y="2927214"/>
            <a:ext cx="2825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Ideointi ja aineiston kerääminen</a:t>
            </a:r>
          </a:p>
        </p:txBody>
      </p:sp>
      <p:sp>
        <p:nvSpPr>
          <p:cNvPr id="75" name="Tekstiruutu 74">
            <a:extLst>
              <a:ext uri="{FF2B5EF4-FFF2-40B4-BE49-F238E27FC236}">
                <a16:creationId xmlns:a16="http://schemas.microsoft.com/office/drawing/2014/main" id="{868CB514-43DC-4092-8418-905FC9C512EC}"/>
              </a:ext>
            </a:extLst>
          </p:cNvPr>
          <p:cNvSpPr txBox="1"/>
          <p:nvPr/>
        </p:nvSpPr>
        <p:spPr>
          <a:xfrm>
            <a:off x="4089183" y="2936517"/>
            <a:ext cx="20844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Luonnoksen valmistelu</a:t>
            </a:r>
          </a:p>
        </p:txBody>
      </p:sp>
      <p:sp>
        <p:nvSpPr>
          <p:cNvPr id="78" name="Tekstiruutu 77">
            <a:extLst>
              <a:ext uri="{FF2B5EF4-FFF2-40B4-BE49-F238E27FC236}">
                <a16:creationId xmlns:a16="http://schemas.microsoft.com/office/drawing/2014/main" id="{8CCCE4CC-E275-4B49-AB48-9E24AE005FED}"/>
              </a:ext>
            </a:extLst>
          </p:cNvPr>
          <p:cNvSpPr txBox="1"/>
          <p:nvPr/>
        </p:nvSpPr>
        <p:spPr>
          <a:xfrm>
            <a:off x="6415569" y="2957416"/>
            <a:ext cx="22424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Kommentit ja viimeistely</a:t>
            </a:r>
          </a:p>
        </p:txBody>
      </p:sp>
      <p:sp>
        <p:nvSpPr>
          <p:cNvPr id="79" name="Tekstiruutu 78">
            <a:extLst>
              <a:ext uri="{FF2B5EF4-FFF2-40B4-BE49-F238E27FC236}">
                <a16:creationId xmlns:a16="http://schemas.microsoft.com/office/drawing/2014/main" id="{5C874AF3-F5EE-4BFF-B80F-8A6321CE5C61}"/>
              </a:ext>
            </a:extLst>
          </p:cNvPr>
          <p:cNvSpPr txBox="1"/>
          <p:nvPr/>
        </p:nvSpPr>
        <p:spPr>
          <a:xfrm>
            <a:off x="9065759" y="2946365"/>
            <a:ext cx="13992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Päätöksenteko</a:t>
            </a:r>
          </a:p>
        </p:txBody>
      </p:sp>
      <p:sp>
        <p:nvSpPr>
          <p:cNvPr id="80" name="Oikea aaltosulje 79">
            <a:extLst>
              <a:ext uri="{FF2B5EF4-FFF2-40B4-BE49-F238E27FC236}">
                <a16:creationId xmlns:a16="http://schemas.microsoft.com/office/drawing/2014/main" id="{4F710C8D-6D42-4E45-8336-0A5A7205F3BA}"/>
              </a:ext>
            </a:extLst>
          </p:cNvPr>
          <p:cNvSpPr/>
          <p:nvPr/>
        </p:nvSpPr>
        <p:spPr>
          <a:xfrm>
            <a:off x="2399084" y="3730805"/>
            <a:ext cx="469189" cy="22765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86AA1564-C33F-4D37-B3E2-825F7B168BBC}"/>
              </a:ext>
            </a:extLst>
          </p:cNvPr>
          <p:cNvSpPr txBox="1">
            <a:spLocks/>
          </p:cNvSpPr>
          <p:nvPr/>
        </p:nvSpPr>
        <p:spPr bwMode="gray">
          <a:xfrm>
            <a:off x="10107375" y="3420170"/>
            <a:ext cx="2314019" cy="1485083"/>
          </a:xfrm>
          <a:prstGeom prst="rect">
            <a:avLst/>
          </a:prstGeom>
          <a:ln>
            <a:noFill/>
          </a:ln>
        </p:spPr>
        <p:txBody>
          <a:bodyPr vert="horz" wrap="square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i-FI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Aluevaltuusto</a:t>
            </a:r>
            <a:r>
              <a:rPr kumimoji="0" lang="fi-FI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 </a:t>
            </a:r>
            <a:r>
              <a:rPr kumimoji="0" lang="fi-FI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hyväksyy talousarvion 2023</a:t>
            </a:r>
          </a:p>
        </p:txBody>
      </p:sp>
    </p:spTree>
    <p:extLst>
      <p:ext uri="{BB962C8B-B14F-4D97-AF65-F5344CB8AC3E}">
        <p14:creationId xmlns:p14="http://schemas.microsoft.com/office/powerpoint/2010/main" val="337521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534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2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1109117255563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ULsote_ja_rakenneuudistus">
  <a:themeElements>
    <a:clrScheme name="Vakeso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11F83"/>
      </a:accent1>
      <a:accent2>
        <a:srgbClr val="76CBF3"/>
      </a:accent2>
      <a:accent3>
        <a:srgbClr val="00983A"/>
      </a:accent3>
      <a:accent4>
        <a:srgbClr val="74B72B"/>
      </a:accent4>
      <a:accent5>
        <a:srgbClr val="E6007E"/>
      </a:accent5>
      <a:accent6>
        <a:srgbClr val="EA5297"/>
      </a:accent6>
      <a:hlink>
        <a:srgbClr val="0563C1"/>
      </a:hlink>
      <a:folHlink>
        <a:srgbClr val="954F72"/>
      </a:folHlink>
    </a:clrScheme>
    <a:fontScheme name="Vakesote">
      <a:majorFont>
        <a:latin typeface="Poppins Black"/>
        <a:ea typeface=""/>
        <a:cs typeface=""/>
      </a:majorFont>
      <a:minorFont>
        <a:latin typeface="Poppi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DIat sinisellä taustalla">
  <a:themeElements>
    <a:clrScheme name="Main Them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4177C9"/>
      </a:accent1>
      <a:accent2>
        <a:srgbClr val="4177C9"/>
      </a:accent2>
      <a:accent3>
        <a:srgbClr val="F9FAFD"/>
      </a:accent3>
      <a:accent4>
        <a:srgbClr val="8CADDE"/>
      </a:accent4>
      <a:accent5>
        <a:srgbClr val="B3C8E9"/>
      </a:accent5>
      <a:accent6>
        <a:srgbClr val="2E2E2E"/>
      </a:accent6>
      <a:hlink>
        <a:srgbClr val="2E2E2E"/>
      </a:hlink>
      <a:folHlink>
        <a:srgbClr val="4177C9"/>
      </a:folHlink>
    </a:clrScheme>
    <a:fontScheme name="Custom 2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DIat sinisellä taustalla">
  <a:themeElements>
    <a:clrScheme name="Main Them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4177C9"/>
      </a:accent1>
      <a:accent2>
        <a:srgbClr val="4177C9"/>
      </a:accent2>
      <a:accent3>
        <a:srgbClr val="F9FAFD"/>
      </a:accent3>
      <a:accent4>
        <a:srgbClr val="8CADDE"/>
      </a:accent4>
      <a:accent5>
        <a:srgbClr val="B3C8E9"/>
      </a:accent5>
      <a:accent6>
        <a:srgbClr val="2E2E2E"/>
      </a:accent6>
      <a:hlink>
        <a:srgbClr val="2E2E2E"/>
      </a:hlink>
      <a:folHlink>
        <a:srgbClr val="4177C9"/>
      </a:folHlink>
    </a:clrScheme>
    <a:fontScheme name="Custom 2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9_DIat sinisellä taustalla">
  <a:themeElements>
    <a:clrScheme name="Main Them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4177C9"/>
      </a:accent1>
      <a:accent2>
        <a:srgbClr val="4177C9"/>
      </a:accent2>
      <a:accent3>
        <a:srgbClr val="F9FAFD"/>
      </a:accent3>
      <a:accent4>
        <a:srgbClr val="8CADDE"/>
      </a:accent4>
      <a:accent5>
        <a:srgbClr val="B3C8E9"/>
      </a:accent5>
      <a:accent6>
        <a:srgbClr val="2E2E2E"/>
      </a:accent6>
      <a:hlink>
        <a:srgbClr val="2E2E2E"/>
      </a:hlink>
      <a:folHlink>
        <a:srgbClr val="4177C9"/>
      </a:folHlink>
    </a:clrScheme>
    <a:fontScheme name="Custom 2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DIat sinisellä taustalla">
  <a:themeElements>
    <a:clrScheme name="Main Them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4177C9"/>
      </a:accent1>
      <a:accent2>
        <a:srgbClr val="4177C9"/>
      </a:accent2>
      <a:accent3>
        <a:srgbClr val="F9FAFD"/>
      </a:accent3>
      <a:accent4>
        <a:srgbClr val="8CADDE"/>
      </a:accent4>
      <a:accent5>
        <a:srgbClr val="B3C8E9"/>
      </a:accent5>
      <a:accent6>
        <a:srgbClr val="2E2E2E"/>
      </a:accent6>
      <a:hlink>
        <a:srgbClr val="2E2E2E"/>
      </a:hlink>
      <a:folHlink>
        <a:srgbClr val="4177C9"/>
      </a:folHlink>
    </a:clrScheme>
    <a:fontScheme name="Custom 2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DIat sinisellä taustalla">
  <a:themeElements>
    <a:clrScheme name="Main Them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4177C9"/>
      </a:accent1>
      <a:accent2>
        <a:srgbClr val="4177C9"/>
      </a:accent2>
      <a:accent3>
        <a:srgbClr val="F9FAFD"/>
      </a:accent3>
      <a:accent4>
        <a:srgbClr val="8CADDE"/>
      </a:accent4>
      <a:accent5>
        <a:srgbClr val="B3C8E9"/>
      </a:accent5>
      <a:accent6>
        <a:srgbClr val="2E2E2E"/>
      </a:accent6>
      <a:hlink>
        <a:srgbClr val="2E2E2E"/>
      </a:hlink>
      <a:folHlink>
        <a:srgbClr val="4177C9"/>
      </a:folHlink>
    </a:clrScheme>
    <a:fontScheme name="Custom 2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DIat sinisellä taustalla">
  <a:themeElements>
    <a:clrScheme name="Main Them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4177C9"/>
      </a:accent1>
      <a:accent2>
        <a:srgbClr val="4177C9"/>
      </a:accent2>
      <a:accent3>
        <a:srgbClr val="F9FAFD"/>
      </a:accent3>
      <a:accent4>
        <a:srgbClr val="8CADDE"/>
      </a:accent4>
      <a:accent5>
        <a:srgbClr val="B3C8E9"/>
      </a:accent5>
      <a:accent6>
        <a:srgbClr val="2E2E2E"/>
      </a:accent6>
      <a:hlink>
        <a:srgbClr val="2E2E2E"/>
      </a:hlink>
      <a:folHlink>
        <a:srgbClr val="4177C9"/>
      </a:folHlink>
    </a:clrScheme>
    <a:fontScheme name="Custom 2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DIat sinisellä taustalla">
  <a:themeElements>
    <a:clrScheme name="Main Them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4177C9"/>
      </a:accent1>
      <a:accent2>
        <a:srgbClr val="4177C9"/>
      </a:accent2>
      <a:accent3>
        <a:srgbClr val="F9FAFD"/>
      </a:accent3>
      <a:accent4>
        <a:srgbClr val="8CADDE"/>
      </a:accent4>
      <a:accent5>
        <a:srgbClr val="B3C8E9"/>
      </a:accent5>
      <a:accent6>
        <a:srgbClr val="2E2E2E"/>
      </a:accent6>
      <a:hlink>
        <a:srgbClr val="2E2E2E"/>
      </a:hlink>
      <a:folHlink>
        <a:srgbClr val="4177C9"/>
      </a:folHlink>
    </a:clrScheme>
    <a:fontScheme name="Custom 2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TULsote_ja_rakenneuudistus">
  <a:themeElements>
    <a:clrScheme name="Vakeso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11F83"/>
      </a:accent1>
      <a:accent2>
        <a:srgbClr val="76CBF3"/>
      </a:accent2>
      <a:accent3>
        <a:srgbClr val="00983A"/>
      </a:accent3>
      <a:accent4>
        <a:srgbClr val="74B72B"/>
      </a:accent4>
      <a:accent5>
        <a:srgbClr val="E6007E"/>
      </a:accent5>
      <a:accent6>
        <a:srgbClr val="EA5297"/>
      </a:accent6>
      <a:hlink>
        <a:srgbClr val="0563C1"/>
      </a:hlink>
      <a:folHlink>
        <a:srgbClr val="954F72"/>
      </a:folHlink>
    </a:clrScheme>
    <a:fontScheme name="Vakesote">
      <a:majorFont>
        <a:latin typeface="Poppins Black"/>
        <a:ea typeface=""/>
        <a:cs typeface=""/>
      </a:majorFont>
      <a:minorFont>
        <a:latin typeface="Poppi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198A35F900E1F14F87E1363A3476E7A0" ma:contentTypeVersion="2" ma:contentTypeDescription="Luo uusi asiakirja." ma:contentTypeScope="" ma:versionID="a2aa6e6c9a852027df5addcc82780c69">
  <xsd:schema xmlns:xsd="http://www.w3.org/2001/XMLSchema" xmlns:xs="http://www.w3.org/2001/XMLSchema" xmlns:p="http://schemas.microsoft.com/office/2006/metadata/properties" xmlns:ns2="38626b0c-4d73-4188-b061-81494d702e4c" targetNamespace="http://schemas.microsoft.com/office/2006/metadata/properties" ma:root="true" ma:fieldsID="d0a79164bf21e94f48d12e8ad39e3696" ns2:_="">
    <xsd:import namespace="38626b0c-4d73-4188-b061-81494d702e4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626b0c-4d73-4188-b061-81494d702e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79F2D78-8468-43CB-BF6A-C8905706AE0C}">
  <ds:schemaRefs>
    <ds:schemaRef ds:uri="38626b0c-4d73-4188-b061-81494d702e4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62A1980-D82B-4EFF-B6E9-BBC8661568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0BFA90-CB2A-4438-88F8-D8898C36CDA6}">
  <ds:schemaRefs>
    <ds:schemaRef ds:uri="38626b0c-4d73-4188-b061-81494d702e4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7</TotalTime>
  <Words>765</Words>
  <Application>Microsoft Office PowerPoint</Application>
  <PresentationFormat>Laajakuva</PresentationFormat>
  <Paragraphs>141</Paragraphs>
  <Slides>7</Slides>
  <Notes>3</Notes>
  <HiddenSlides>0</HiddenSlides>
  <MMClips>0</MMClips>
  <ScaleCrop>false</ScaleCrop>
  <HeadingPairs>
    <vt:vector size="8" baseType="variant">
      <vt:variant>
        <vt:lpstr>Käytetyt fontit</vt:lpstr>
      </vt:variant>
      <vt:variant>
        <vt:i4>15</vt:i4>
      </vt:variant>
      <vt:variant>
        <vt:lpstr>Teema</vt:lpstr>
      </vt:variant>
      <vt:variant>
        <vt:i4>9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7</vt:i4>
      </vt:variant>
    </vt:vector>
  </HeadingPairs>
  <TitlesOfParts>
    <vt:vector size="32" baseType="lpstr">
      <vt:lpstr>Wingdings 2</vt:lpstr>
      <vt:lpstr>Roboto Light</vt:lpstr>
      <vt:lpstr>Poppins ExtraLight</vt:lpstr>
      <vt:lpstr>Roboto Black</vt:lpstr>
      <vt:lpstr>Montserrat SemiBold</vt:lpstr>
      <vt:lpstr>Montserrat</vt:lpstr>
      <vt:lpstr>Montserrat Medium</vt:lpstr>
      <vt:lpstr>Calibri Light</vt:lpstr>
      <vt:lpstr>Arial</vt:lpstr>
      <vt:lpstr>Calibri Normaali</vt:lpstr>
      <vt:lpstr>Poppins Black</vt:lpstr>
      <vt:lpstr>Poppins SemiBold</vt:lpstr>
      <vt:lpstr>Poppins ExtraBold</vt:lpstr>
      <vt:lpstr>Verdana</vt:lpstr>
      <vt:lpstr>Calibri</vt:lpstr>
      <vt:lpstr>TULsote_ja_rakenneuudistus</vt:lpstr>
      <vt:lpstr>8_DIat sinisellä taustalla</vt:lpstr>
      <vt:lpstr>7_DIat sinisellä taustalla</vt:lpstr>
      <vt:lpstr>9_DIat sinisellä taustalla</vt:lpstr>
      <vt:lpstr>1_DIat sinisellä taustalla</vt:lpstr>
      <vt:lpstr>2_DIat sinisellä taustalla</vt:lpstr>
      <vt:lpstr>3_DIat sinisellä taustalla</vt:lpstr>
      <vt:lpstr>4_DIat sinisellä taustalla</vt:lpstr>
      <vt:lpstr>1_TULsote_ja_rakenneuudistus</vt:lpstr>
      <vt:lpstr>think-cell Slide</vt:lpstr>
      <vt:lpstr>Vantaan ja Keravan hyvinvointialueen strategiaprosessi</vt:lpstr>
      <vt:lpstr>Lainsäädännön edellyttämät strategiset ohjausasiakirjat</vt:lpstr>
      <vt:lpstr>Hyvinvointialuestrategiaan vaikuttavia taustatekijöitä</vt:lpstr>
      <vt:lpstr>Hyvinvointialueen strategian vaiheistus ja syveneminen</vt:lpstr>
      <vt:lpstr>Strategiavalmistelun vuosikello 2022</vt:lpstr>
      <vt:lpstr>Strategiavalmistelun aikataulu 2022, osallisuussuunnitelma</vt:lpstr>
      <vt:lpstr>PowerPoint-esity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ponen Matti</dc:creator>
  <cp:lastModifiedBy>Juosila Marianne</cp:lastModifiedBy>
  <cp:revision>3</cp:revision>
  <dcterms:created xsi:type="dcterms:W3CDTF">2020-12-16T08:34:10Z</dcterms:created>
  <dcterms:modified xsi:type="dcterms:W3CDTF">2022-03-08T12:4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8A35F900E1F14F87E1363A3476E7A0</vt:lpwstr>
  </property>
  <property fmtid="{D5CDD505-2E9C-101B-9397-08002B2CF9AE}" pid="3" name="_NewReviewCycle">
    <vt:lpwstr/>
  </property>
  <property fmtid="{D5CDD505-2E9C-101B-9397-08002B2CF9AE}" pid="4" name="MSIP_Label_ea60d57e-af5b-4752-ac57-3e4f28ca11dc_Enabled">
    <vt:lpwstr>true</vt:lpwstr>
  </property>
  <property fmtid="{D5CDD505-2E9C-101B-9397-08002B2CF9AE}" pid="5" name="MSIP_Label_ea60d57e-af5b-4752-ac57-3e4f28ca11dc_SetDate">
    <vt:lpwstr>2021-09-29T10:42:36Z</vt:lpwstr>
  </property>
  <property fmtid="{D5CDD505-2E9C-101B-9397-08002B2CF9AE}" pid="6" name="MSIP_Label_ea60d57e-af5b-4752-ac57-3e4f28ca11dc_Method">
    <vt:lpwstr>Standard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iteId">
    <vt:lpwstr>36da45f1-dd2c-4d1f-af13-5abe46b99921</vt:lpwstr>
  </property>
  <property fmtid="{D5CDD505-2E9C-101B-9397-08002B2CF9AE}" pid="9" name="MSIP_Label_ea60d57e-af5b-4752-ac57-3e4f28ca11dc_ActionId">
    <vt:lpwstr>a49e90ed-90e1-494d-ae42-cb908c775942</vt:lpwstr>
  </property>
  <property fmtid="{D5CDD505-2E9C-101B-9397-08002B2CF9AE}" pid="10" name="MSIP_Label_ea60d57e-af5b-4752-ac57-3e4f28ca11dc_ContentBits">
    <vt:lpwstr>0</vt:lpwstr>
  </property>
</Properties>
</file>